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jpeg" ContentType="image/jpeg"/>
  <Default Extension="JPG" ContentType="image/.jp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svg" ContentType="image/svg+xml"/>
  <Override PartName="/ppt/media/image2.svg" ContentType="image/svg+xml"/>
  <Override PartName="/ppt/media/image3.svg" ContentType="image/svg+xml"/>
  <Override PartName="/ppt/media/image4.svg" ContentType="image/svg+xml"/>
  <Override PartName="/ppt/media/image5.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1" r:id="rId3"/>
    <p:sldMasterId id="2147483677" r:id="rId4"/>
  </p:sldMasterIdLst>
  <p:notesMasterIdLst>
    <p:notesMasterId r:id="rId6"/>
  </p:notesMasterIdLst>
  <p:handoutMasterIdLst>
    <p:handoutMasterId r:id="rId23"/>
  </p:handoutMasterIdLst>
  <p:sldIdLst>
    <p:sldId id="480" r:id="rId5"/>
    <p:sldId id="545" r:id="rId7"/>
    <p:sldId id="529" r:id="rId8"/>
    <p:sldId id="531" r:id="rId9"/>
    <p:sldId id="540" r:id="rId10"/>
    <p:sldId id="537" r:id="rId11"/>
    <p:sldId id="538" r:id="rId12"/>
    <p:sldId id="547" r:id="rId13"/>
    <p:sldId id="548" r:id="rId14"/>
    <p:sldId id="549" r:id="rId15"/>
    <p:sldId id="530" r:id="rId16"/>
    <p:sldId id="532" r:id="rId17"/>
    <p:sldId id="541" r:id="rId18"/>
    <p:sldId id="539" r:id="rId19"/>
    <p:sldId id="543" r:id="rId20"/>
    <p:sldId id="544" r:id="rId21"/>
    <p:sldId id="546" r:id="rId22"/>
  </p:sldIdLst>
  <p:sldSz cx="9144000" cy="5143500" type="screen16x9"/>
  <p:notesSz cx="6797675"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esheiwat, Jumana" initials="NJ"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E9E5"/>
    <a:srgbClr val="68B022"/>
    <a:srgbClr val="979797"/>
    <a:srgbClr val="7F7F7F"/>
    <a:srgbClr val="8B8C8B"/>
    <a:srgbClr val="5A971D"/>
    <a:srgbClr val="548D1B"/>
    <a:srgbClr val="77A679"/>
    <a:srgbClr val="B0D082"/>
    <a:srgbClr val="C0D2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911" autoAdjust="0"/>
    <p:restoredTop sz="84325" autoAdjust="0"/>
  </p:normalViewPr>
  <p:slideViewPr>
    <p:cSldViewPr snapToGrid="0" snapToObjects="1">
      <p:cViewPr>
        <p:scale>
          <a:sx n="140" d="100"/>
          <a:sy n="140" d="100"/>
        </p:scale>
        <p:origin x="-1158" y="-72"/>
      </p:cViewPr>
      <p:guideLst>
        <p:guide orient="horz" pos="2806"/>
        <p:guide orient="horz" pos="2958"/>
        <p:guide orient="horz" pos="591"/>
        <p:guide orient="horz" pos="383"/>
        <p:guide orient="horz" pos="2062"/>
        <p:guide orient="horz" pos="117"/>
        <p:guide orient="horz" pos="2754"/>
        <p:guide pos="142"/>
        <p:guide pos="5648"/>
        <p:guide pos="2881"/>
        <p:guide pos="292"/>
      </p:guideLst>
    </p:cSldViewPr>
  </p:slideViewPr>
  <p:outlineViewPr>
    <p:cViewPr>
      <p:scale>
        <a:sx n="33" d="100"/>
        <a:sy n="33" d="100"/>
      </p:scale>
      <p:origin x="0" y="20148"/>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1" d="100"/>
          <a:sy n="81" d="100"/>
        </p:scale>
        <p:origin x="-4020"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notesMaster" Target="notesMasters/notesMaster1.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7" Type="http://schemas.openxmlformats.org/officeDocument/2006/relationships/commentAuthors" Target="commentAuthors.xml"/><Relationship Id="rId26" Type="http://schemas.openxmlformats.org/officeDocument/2006/relationships/tableStyles" Target="tableStyles.xml"/><Relationship Id="rId25" Type="http://schemas.openxmlformats.org/officeDocument/2006/relationships/viewProps" Target="viewProps.xml"/><Relationship Id="rId24" Type="http://schemas.openxmlformats.org/officeDocument/2006/relationships/presProps" Target="presProps.xml"/><Relationship Id="rId23" Type="http://schemas.openxmlformats.org/officeDocument/2006/relationships/handoutMaster" Target="handoutMasters/handoutMaster1.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6503" cy="497137"/>
          </a:xfrm>
          <a:prstGeom prst="rect">
            <a:avLst/>
          </a:prstGeom>
        </p:spPr>
        <p:txBody>
          <a:bodyPr vert="horz" lIns="114346" tIns="57173" rIns="114346" bIns="57173" rtlCol="0"/>
          <a:lstStyle>
            <a:lvl1pPr algn="l">
              <a:defRPr sz="1500"/>
            </a:lvl1pPr>
          </a:lstStyle>
          <a:p>
            <a:endParaRPr lang="fr-FR"/>
          </a:p>
        </p:txBody>
      </p:sp>
      <p:sp>
        <p:nvSpPr>
          <p:cNvPr id="3" name="Espace réservé de la date 2"/>
          <p:cNvSpPr>
            <a:spLocks noGrp="1"/>
          </p:cNvSpPr>
          <p:nvPr>
            <p:ph type="dt" sz="quarter" idx="1"/>
          </p:nvPr>
        </p:nvSpPr>
        <p:spPr>
          <a:xfrm>
            <a:off x="3851172" y="1"/>
            <a:ext cx="2944200" cy="497137"/>
          </a:xfrm>
          <a:prstGeom prst="rect">
            <a:avLst/>
          </a:prstGeom>
        </p:spPr>
        <p:txBody>
          <a:bodyPr vert="horz" lIns="114346" tIns="57173" rIns="114346" bIns="57173" rtlCol="0"/>
          <a:lstStyle>
            <a:lvl1pPr algn="r">
              <a:defRPr sz="1500"/>
            </a:lvl1pPr>
          </a:lstStyle>
          <a:p>
            <a:fld id="{CA14317E-64A3-44DB-B1E0-855CE826D202}" type="datetimeFigureOut">
              <a:rPr lang="fr-FR" smtClean="0"/>
            </a:fld>
            <a:endParaRPr lang="fr-FR"/>
          </a:p>
        </p:txBody>
      </p:sp>
      <p:sp>
        <p:nvSpPr>
          <p:cNvPr id="4" name="Espace réservé du pied de page 3"/>
          <p:cNvSpPr>
            <a:spLocks noGrp="1"/>
          </p:cNvSpPr>
          <p:nvPr>
            <p:ph type="ftr" sz="quarter" idx="2"/>
          </p:nvPr>
        </p:nvSpPr>
        <p:spPr>
          <a:xfrm>
            <a:off x="0" y="9429275"/>
            <a:ext cx="2946503" cy="497137"/>
          </a:xfrm>
          <a:prstGeom prst="rect">
            <a:avLst/>
          </a:prstGeom>
        </p:spPr>
        <p:txBody>
          <a:bodyPr vert="horz" lIns="114346" tIns="57173" rIns="114346" bIns="57173" rtlCol="0" anchor="b"/>
          <a:lstStyle>
            <a:lvl1pPr algn="l">
              <a:defRPr sz="1500"/>
            </a:lvl1pPr>
          </a:lstStyle>
          <a:p>
            <a:endParaRPr lang="fr-FR"/>
          </a:p>
        </p:txBody>
      </p:sp>
      <p:sp>
        <p:nvSpPr>
          <p:cNvPr id="5" name="Espace réservé du numéro de diapositive 4"/>
          <p:cNvSpPr>
            <a:spLocks noGrp="1"/>
          </p:cNvSpPr>
          <p:nvPr>
            <p:ph type="sldNum" sz="quarter" idx="3"/>
          </p:nvPr>
        </p:nvSpPr>
        <p:spPr>
          <a:xfrm>
            <a:off x="3851172" y="9429275"/>
            <a:ext cx="2944200" cy="497137"/>
          </a:xfrm>
          <a:prstGeom prst="rect">
            <a:avLst/>
          </a:prstGeom>
        </p:spPr>
        <p:txBody>
          <a:bodyPr vert="horz" lIns="114346" tIns="57173" rIns="114346" bIns="57173" rtlCol="0" anchor="b"/>
          <a:lstStyle>
            <a:lvl1pPr algn="r">
              <a:defRPr sz="1500"/>
            </a:lvl1pPr>
          </a:lstStyle>
          <a:p>
            <a:fld id="{AAA595A7-2E61-4933-9002-393A177572AC}" type="slidenum">
              <a:rPr lang="fr-FR" smtClean="0"/>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107729" tIns="53867" rIns="107729" bIns="53867" rtlCol="0"/>
          <a:lstStyle>
            <a:lvl1pPr algn="l">
              <a:defRPr sz="15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107729" tIns="53867" rIns="107729" bIns="53867" rtlCol="0"/>
          <a:lstStyle>
            <a:lvl1pPr algn="r">
              <a:defRPr sz="1500"/>
            </a:lvl1pPr>
          </a:lstStyle>
          <a:p>
            <a:fld id="{200FF897-6FC7-4D58-A6E1-328C2036FC88}" type="datetimeFigureOut">
              <a:rPr lang="de-DE" smtClean="0"/>
            </a:fld>
            <a:endParaRPr lang="de-DE"/>
          </a:p>
        </p:txBody>
      </p:sp>
      <p:sp>
        <p:nvSpPr>
          <p:cNvPr id="4" name="Folienbildplatzhalter 3"/>
          <p:cNvSpPr>
            <a:spLocks noGrp="1" noRot="1" noChangeAspect="1"/>
          </p:cNvSpPr>
          <p:nvPr>
            <p:ph type="sldImg" idx="2"/>
          </p:nvPr>
        </p:nvSpPr>
        <p:spPr>
          <a:xfrm>
            <a:off x="90488" y="746125"/>
            <a:ext cx="6616700" cy="3722688"/>
          </a:xfrm>
          <a:prstGeom prst="rect">
            <a:avLst/>
          </a:prstGeom>
          <a:noFill/>
          <a:ln w="12700">
            <a:solidFill>
              <a:prstClr val="black"/>
            </a:solidFill>
          </a:ln>
        </p:spPr>
        <p:txBody>
          <a:bodyPr vert="horz" lIns="107729" tIns="53867" rIns="107729" bIns="53867" rtlCol="0" anchor="ctr"/>
          <a:lstStyle/>
          <a:p>
            <a:endParaRPr lang="de-DE"/>
          </a:p>
        </p:txBody>
      </p:sp>
      <p:sp>
        <p:nvSpPr>
          <p:cNvPr id="5" name="Notizenplatzhalter 4"/>
          <p:cNvSpPr>
            <a:spLocks noGrp="1"/>
          </p:cNvSpPr>
          <p:nvPr>
            <p:ph type="body" sz="quarter" idx="3"/>
          </p:nvPr>
        </p:nvSpPr>
        <p:spPr>
          <a:xfrm>
            <a:off x="679773" y="4715907"/>
            <a:ext cx="5438138" cy="4467701"/>
          </a:xfrm>
          <a:prstGeom prst="rect">
            <a:avLst/>
          </a:prstGeom>
        </p:spPr>
        <p:txBody>
          <a:bodyPr vert="horz" lIns="107729" tIns="53867" rIns="107729" bIns="53867" rtlCol="0"/>
          <a:lstStyle/>
          <a:p>
            <a:pPr lvl="0"/>
            <a:r>
              <a:rPr lang="de-DE" smtClean="0"/>
              <a:t>Textmasterformat bearbeiten</a:t>
            </a:r>
            <a:endParaRPr lang="de-DE" smtClean="0"/>
          </a:p>
          <a:p>
            <a:pPr lvl="1"/>
            <a:r>
              <a:rPr lang="de-DE" smtClean="0"/>
              <a:t>Zweite Ebene</a:t>
            </a:r>
            <a:endParaRPr lang="de-DE" smtClean="0"/>
          </a:p>
          <a:p>
            <a:pPr lvl="2"/>
            <a:r>
              <a:rPr lang="de-DE" smtClean="0"/>
              <a:t>Dritte Ebene</a:t>
            </a:r>
            <a:endParaRPr lang="de-DE" smtClean="0"/>
          </a:p>
          <a:p>
            <a:pPr lvl="3"/>
            <a:r>
              <a:rPr lang="de-DE" smtClean="0"/>
              <a:t>Vierte Ebene</a:t>
            </a:r>
            <a:endParaRPr lang="de-DE" smtClean="0"/>
          </a:p>
          <a:p>
            <a:pPr lvl="4"/>
            <a:r>
              <a:rPr lang="de-DE" smtClean="0"/>
              <a:t>Fünfte Ebene</a:t>
            </a:r>
            <a:endParaRPr lang="de-DE"/>
          </a:p>
        </p:txBody>
      </p:sp>
      <p:sp>
        <p:nvSpPr>
          <p:cNvPr id="6" name="Fußzeilenplatzhalter 5"/>
          <p:cNvSpPr>
            <a:spLocks noGrp="1"/>
          </p:cNvSpPr>
          <p:nvPr>
            <p:ph type="ftr" sz="quarter" idx="4"/>
          </p:nvPr>
        </p:nvSpPr>
        <p:spPr>
          <a:xfrm>
            <a:off x="0" y="9430092"/>
            <a:ext cx="2945659" cy="496411"/>
          </a:xfrm>
          <a:prstGeom prst="rect">
            <a:avLst/>
          </a:prstGeom>
        </p:spPr>
        <p:txBody>
          <a:bodyPr vert="horz" lIns="107729" tIns="53867" rIns="107729" bIns="53867" rtlCol="0" anchor="b"/>
          <a:lstStyle>
            <a:lvl1pPr algn="l">
              <a:defRPr sz="1500"/>
            </a:lvl1pPr>
          </a:lstStyle>
          <a:p>
            <a:endParaRPr lang="de-DE"/>
          </a:p>
        </p:txBody>
      </p:sp>
      <p:sp>
        <p:nvSpPr>
          <p:cNvPr id="7" name="Foliennummernplatzhalter 6"/>
          <p:cNvSpPr>
            <a:spLocks noGrp="1"/>
          </p:cNvSpPr>
          <p:nvPr>
            <p:ph type="sldNum" sz="quarter" idx="5"/>
          </p:nvPr>
        </p:nvSpPr>
        <p:spPr>
          <a:xfrm>
            <a:off x="3850443" y="9430092"/>
            <a:ext cx="2945659" cy="496411"/>
          </a:xfrm>
          <a:prstGeom prst="rect">
            <a:avLst/>
          </a:prstGeom>
        </p:spPr>
        <p:txBody>
          <a:bodyPr vert="horz" lIns="107729" tIns="53867" rIns="107729" bIns="53867" rtlCol="0" anchor="b"/>
          <a:lstStyle>
            <a:lvl1pPr algn="r">
              <a:defRPr sz="1500"/>
            </a:lvl1pPr>
          </a:lstStyle>
          <a:p>
            <a:fld id="{BDBAA620-6759-4E5B-93B0-620E7D630B5F}" type="slidenum">
              <a:rPr lang="de-DE" smtClean="0"/>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refed.org/food-waste/the-problem/#which_foods_get_wasted" TargetMode="External"/><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un.org/development/desa/en/news/population/world-population-prospects-2019.html" TargetMode="External"/><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sz="800" dirty="0"/>
          </a:p>
          <a:p>
            <a:endParaRPr lang="en-US" dirty="0"/>
          </a:p>
        </p:txBody>
      </p:sp>
      <p:sp>
        <p:nvSpPr>
          <p:cNvPr id="4" name="Foliennummernplatzhalter 3"/>
          <p:cNvSpPr>
            <a:spLocks noGrp="1"/>
          </p:cNvSpPr>
          <p:nvPr>
            <p:ph type="sldNum" sz="quarter" idx="10"/>
          </p:nvPr>
        </p:nvSpPr>
        <p:spPr/>
        <p:txBody>
          <a:bodyPr/>
          <a:lstStyle/>
          <a:p>
            <a:pPr defTabSz="914400">
              <a:defRPr/>
            </a:pPr>
            <a:fld id="{BDBAA620-6759-4E5B-93B0-620E7D630B5F}" type="slidenum">
              <a:rPr lang="en-US" sz="1800" kern="0">
                <a:solidFill>
                  <a:sysClr val="windowText" lastClr="000000"/>
                </a:solidFill>
              </a:rPr>
            </a:fld>
            <a:endParaRPr lang="en-US" sz="1800" kern="0" dirty="0">
              <a:solidFill>
                <a:sysClr val="windowText" lastClr="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fld>
            <a:endParaRPr lang="en-US" altLang="fr-FR">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CE7F389B-C8C8-459A-983A-2E8AB32F88D1}" type="slidenum">
              <a:rPr lang="fr-FR" smtClean="0"/>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hlinkClick r:id="rId3"/>
              </a:rPr>
              <a:t>Food Waste </a:t>
            </a:r>
            <a:r>
              <a:rPr lang="fr-FR" err="1">
                <a:hlinkClick r:id="rId3"/>
              </a:rPr>
              <a:t>Problem</a:t>
            </a:r>
            <a:r>
              <a:rPr lang="fr-FR">
                <a:hlinkClick r:id="rId3"/>
              </a:rPr>
              <a:t> | </a:t>
            </a:r>
            <a:r>
              <a:rPr lang="fr-FR" err="1">
                <a:hlinkClick r:id="rId3"/>
              </a:rPr>
              <a:t>ReFED</a:t>
            </a:r>
            <a:endParaRPr lang="fr-FR"/>
          </a:p>
          <a:p>
            <a:pPr algn="l"/>
            <a:r>
              <a:rPr lang="en-US" b="0" i="0">
                <a:solidFill>
                  <a:srgbClr val="344955"/>
                </a:solidFill>
                <a:effectLst/>
                <a:latin typeface="Lora" panose="020B0604020202020204" pitchFamily="2" charset="0"/>
              </a:rPr>
              <a:t>What is Food Waste?</a:t>
            </a:r>
            <a:endParaRPr lang="en-US" b="0" i="0">
              <a:solidFill>
                <a:srgbClr val="344955"/>
              </a:solidFill>
              <a:effectLst/>
              <a:latin typeface="Lora" panose="020B0604020202020204" pitchFamily="2" charset="0"/>
            </a:endParaRPr>
          </a:p>
          <a:p>
            <a:pPr algn="l"/>
            <a:r>
              <a:rPr lang="en-US" b="0" i="0" err="1">
                <a:solidFill>
                  <a:srgbClr val="344955"/>
                </a:solidFill>
                <a:effectLst/>
                <a:latin typeface="Open Sans" panose="020B0606030504020204" pitchFamily="34" charset="0"/>
              </a:rPr>
              <a:t>ReFED</a:t>
            </a:r>
            <a:r>
              <a:rPr lang="en-US" b="0" i="0">
                <a:solidFill>
                  <a:srgbClr val="344955"/>
                </a:solidFill>
                <a:effectLst/>
                <a:latin typeface="Open Sans" panose="020B0606030504020204" pitchFamily="34" charset="0"/>
              </a:rPr>
              <a:t> defines “food waste” as uneaten food and inedible parts that end up being landfilled, incinerated, disposed of down the sewer, dumped, or spread onto land. It’s a subset of “surplus food” – which </a:t>
            </a:r>
            <a:r>
              <a:rPr lang="en-US" b="0" i="0" err="1">
                <a:solidFill>
                  <a:srgbClr val="344955"/>
                </a:solidFill>
                <a:effectLst/>
                <a:latin typeface="Open Sans" panose="020B0606030504020204" pitchFamily="34" charset="0"/>
              </a:rPr>
              <a:t>ReFED</a:t>
            </a:r>
            <a:r>
              <a:rPr lang="en-US" b="0" i="0">
                <a:solidFill>
                  <a:srgbClr val="344955"/>
                </a:solidFill>
                <a:effectLst/>
                <a:latin typeface="Open Sans" panose="020B0606030504020204" pitchFamily="34" charset="0"/>
              </a:rPr>
              <a:t> defines as all food that goes unsold or unused by a business or that goes uneaten at home – including food and inedible parts (e.g., peels, pits, bones) that are donated, fed to animals, repurposed to produce other products, composted, or anaerobically digested.</a:t>
            </a:r>
            <a:endParaRPr lang="en-US" b="0" i="0">
              <a:solidFill>
                <a:srgbClr val="344955"/>
              </a:solidFill>
              <a:effectLst/>
              <a:latin typeface="Open Sans" panose="020B0606030504020204" pitchFamily="34" charset="0"/>
            </a:endParaRPr>
          </a:p>
          <a:p>
            <a:endParaRPr lang="fr-FR"/>
          </a:p>
        </p:txBody>
      </p:sp>
      <p:sp>
        <p:nvSpPr>
          <p:cNvPr id="4" name="Espace réservé du numéro de diapositive 3"/>
          <p:cNvSpPr>
            <a:spLocks noGrp="1"/>
          </p:cNvSpPr>
          <p:nvPr>
            <p:ph type="sldNum" sz="quarter" idx="5"/>
          </p:nvPr>
        </p:nvSpPr>
        <p:spPr/>
        <p:txBody>
          <a:bodyPr/>
          <a:lstStyle/>
          <a:p>
            <a:fld id="{C29F7DA2-01F2-4179-A078-B28C1495604E}" type="slidenum">
              <a:rPr lang="fr-FR" smtClean="0"/>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a:ea typeface="Times New Roman" panose="02020603050405020304" pitchFamily="18" charset="0"/>
                <a:cs typeface="Times New Roman" panose="02020603050405020304" pitchFamily="18" charset="0"/>
              </a:rPr>
              <a:t>C</a:t>
            </a:r>
            <a:r>
              <a:rPr lang="en-US" sz="1200">
                <a:effectLst/>
                <a:ea typeface="Times New Roman" panose="02020603050405020304" pitchFamily="18" charset="0"/>
                <a:cs typeface="Times New Roman" panose="02020603050405020304" pitchFamily="18" charset="0"/>
              </a:rPr>
              <a:t>ommunity enhancement programs aligned to the </a:t>
            </a:r>
            <a:r>
              <a:rPr lang="en-US" sz="1200" b="1">
                <a:effectLst/>
                <a:ea typeface="Times New Roman" panose="02020603050405020304" pitchFamily="18" charset="0"/>
                <a:cs typeface="Times New Roman" panose="02020603050405020304" pitchFamily="18" charset="0"/>
              </a:rPr>
              <a:t>17 SDGs of United Nations</a:t>
            </a:r>
            <a:r>
              <a:rPr lang="en-US" sz="1200" b="1">
                <a:ea typeface="Times New Roman" panose="02020603050405020304" pitchFamily="18" charset="0"/>
                <a:cs typeface="Times New Roman" panose="02020603050405020304" pitchFamily="18" charset="0"/>
              </a:rPr>
              <a:t>, with a </a:t>
            </a:r>
            <a:r>
              <a:rPr lang="en-US" sz="1200">
                <a:effectLst/>
                <a:ea typeface="Times New Roman" panose="02020603050405020304" pitchFamily="18" charset="0"/>
                <a:cs typeface="Times New Roman" panose="02020603050405020304" pitchFamily="18" charset="0"/>
              </a:rPr>
              <a:t>focus on:</a:t>
            </a:r>
            <a:endParaRPr lang="en-US" sz="1200">
              <a:effectLst/>
              <a:ea typeface="Times New Roman" panose="02020603050405020304" pitchFamily="18" charset="0"/>
              <a:cs typeface="Times New Roman" panose="02020603050405020304" pitchFamily="18" charset="0"/>
            </a:endParaRPr>
          </a:p>
          <a:p>
            <a:r>
              <a:rPr lang="en-US" sz="1200">
                <a:effectLst/>
                <a:ea typeface="Times New Roman" panose="02020603050405020304" pitchFamily="18" charset="0"/>
                <a:cs typeface="Times New Roman" panose="02020603050405020304" pitchFamily="18" charset="0"/>
              </a:rPr>
              <a:t>environment, disaster risks reduction, climate change adaptation programs, basic social services and institution building and governance</a:t>
            </a:r>
            <a:endParaRPr lang="fr-FR" sz="1200"/>
          </a:p>
          <a:p>
            <a:pPr marL="285750" indent="-285750">
              <a:buClr>
                <a:srgbClr val="68B022"/>
              </a:buClr>
              <a:buFont typeface="Arial" panose="020B0604020202020204" pitchFamily="34" charset="0"/>
              <a:buChar char="→"/>
            </a:pPr>
            <a:r>
              <a:rPr lang="en-US" sz="1200">
                <a:effectLst/>
                <a:latin typeface="+mj-lt"/>
                <a:ea typeface="Times New Roman" panose="02020603050405020304" pitchFamily="18" charset="0"/>
                <a:cs typeface="Times New Roman" panose="02020603050405020304" pitchFamily="18" charset="0"/>
              </a:rPr>
              <a:t>Programs and projects implemented in partnership with </a:t>
            </a:r>
            <a:r>
              <a:rPr lang="en-US" sz="1200" err="1">
                <a:effectLst/>
                <a:latin typeface="+mj-lt"/>
                <a:ea typeface="Times New Roman" panose="02020603050405020304" pitchFamily="18" charset="0"/>
                <a:cs typeface="Times New Roman" panose="02020603050405020304" pitchFamily="18" charset="0"/>
              </a:rPr>
              <a:t>Mahintana</a:t>
            </a:r>
            <a:r>
              <a:rPr lang="en-US" sz="1200">
                <a:effectLst/>
                <a:latin typeface="+mj-lt"/>
                <a:ea typeface="Times New Roman" panose="02020603050405020304" pitchFamily="18" charset="0"/>
                <a:cs typeface="Times New Roman" panose="02020603050405020304" pitchFamily="18" charset="0"/>
              </a:rPr>
              <a:t> Foundation, Inc. such as: </a:t>
            </a:r>
            <a:endParaRPr lang="en-US" sz="1200">
              <a:effectLst/>
              <a:latin typeface="+mj-lt"/>
              <a:ea typeface="Times New Roman" panose="02020603050405020304" pitchFamily="18" charset="0"/>
              <a:cs typeface="Times New Roman" panose="02020603050405020304" pitchFamily="18" charset="0"/>
            </a:endParaRPr>
          </a:p>
          <a:p>
            <a:pPr>
              <a:buClr>
                <a:srgbClr val="68B022"/>
              </a:buClr>
            </a:pPr>
            <a:r>
              <a:rPr lang="en-US" sz="1200" i="1">
                <a:effectLst/>
                <a:latin typeface="+mj-lt"/>
                <a:ea typeface="Times New Roman" panose="02020603050405020304" pitchFamily="18" charset="0"/>
                <a:cs typeface="Times New Roman" panose="02020603050405020304" pitchFamily="18" charset="0"/>
              </a:rPr>
              <a:t>Adopt-A-School, Chairs-for-Tree, Feeding Program, and peace building program through </a:t>
            </a:r>
            <a:r>
              <a:rPr lang="en-US" sz="1200" i="1" err="1">
                <a:effectLst/>
                <a:latin typeface="+mj-lt"/>
                <a:ea typeface="Times New Roman" panose="02020603050405020304" pitchFamily="18" charset="0"/>
                <a:cs typeface="Times New Roman" panose="02020603050405020304" pitchFamily="18" charset="0"/>
              </a:rPr>
              <a:t>ProPeace</a:t>
            </a:r>
            <a:r>
              <a:rPr lang="en-US" sz="1200" i="1">
                <a:effectLst/>
                <a:latin typeface="+mj-lt"/>
                <a:ea typeface="Times New Roman" panose="02020603050405020304" pitchFamily="18" charset="0"/>
                <a:cs typeface="Times New Roman" panose="02020603050405020304" pitchFamily="18" charset="0"/>
              </a:rPr>
              <a:t> </a:t>
            </a:r>
            <a:endParaRPr lang="en-US" sz="1200" i="1">
              <a:effectLst/>
              <a:latin typeface="+mj-lt"/>
              <a:ea typeface="Times New Roman" panose="02020603050405020304" pitchFamily="18" charset="0"/>
              <a:cs typeface="Times New Roman" panose="02020603050405020304" pitchFamily="18" charset="0"/>
            </a:endParaRPr>
          </a:p>
          <a:p>
            <a:endParaRPr lang="fr-FR"/>
          </a:p>
        </p:txBody>
      </p:sp>
      <p:sp>
        <p:nvSpPr>
          <p:cNvPr id="4" name="Espace réservé du numéro de diapositive 3"/>
          <p:cNvSpPr>
            <a:spLocks noGrp="1"/>
          </p:cNvSpPr>
          <p:nvPr>
            <p:ph type="sldNum" sz="quarter" idx="5"/>
          </p:nvPr>
        </p:nvSpPr>
        <p:spPr/>
        <p:txBody>
          <a:bodyPr/>
          <a:lstStyle/>
          <a:p>
            <a:fld id="{C29F7DA2-01F2-4179-A078-B28C1495604E}" type="slidenum">
              <a:rPr lang="fr-FR" smtClean="0"/>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defRPr/>
            </a:pPr>
            <a:r>
              <a:rPr lang="en-US" i="1" dirty="0">
                <a:solidFill>
                  <a:srgbClr val="000000"/>
                </a:solidFill>
                <a:latin typeface="Arial" panose="020B0604020202020204" pitchFamily="34" charset="0"/>
              </a:rPr>
              <a:t>In the fields you can see whole family that collects fruits. (from 22 to 70)</a:t>
            </a:r>
            <a:endParaRPr lang="en-US" i="1" dirty="0">
              <a:solidFill>
                <a:srgbClr val="000000"/>
              </a:solidFill>
              <a:latin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35FBD31F-B660-4149-86C4-E65104F4EAEF}" type="slidenum">
              <a:rPr lang="fr-FR" smtClean="0"/>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fld>
            <a:endParaRPr lang="en-US" altLang="fr-FR">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fr-FR" dirty="0"/>
              <a:t>12 millions de tonnes de déchets agro alimentaires</a:t>
            </a:r>
            <a:endParaRPr lang="fr-FR" dirty="0"/>
          </a:p>
          <a:p>
            <a:pPr marL="0" marR="0" lvl="0" indent="0" algn="l" defTabSz="914400" rtl="0" eaLnBrk="1" fontAlgn="auto" latinLnBrk="0" hangingPunct="1">
              <a:lnSpc>
                <a:spcPct val="100000"/>
              </a:lnSpc>
              <a:spcBef>
                <a:spcPts val="0"/>
              </a:spcBef>
              <a:spcAft>
                <a:spcPts val="0"/>
              </a:spcAft>
              <a:buClrTx/>
              <a:buSzTx/>
              <a:buFontTx/>
              <a:buNone/>
              <a:defRPr/>
            </a:pPr>
            <a:r>
              <a:rPr lang="en-US" dirty="0"/>
              <a:t>The global population could peak at nearly </a:t>
            </a:r>
            <a:r>
              <a:rPr lang="en-US" dirty="0">
                <a:hlinkClick r:id="rId3"/>
              </a:rPr>
              <a:t>11 billion by 2100</a:t>
            </a:r>
            <a:r>
              <a:rPr lang="en-US" dirty="0"/>
              <a:t>, putting further strain on the environment. </a:t>
            </a:r>
            <a:endParaRPr lang="en-US" dirty="0"/>
          </a:p>
          <a:p>
            <a:pPr marL="0" marR="0" lvl="0" indent="0" algn="l" defTabSz="914400" rtl="0" eaLnBrk="1" fontAlgn="auto" latinLnBrk="0" hangingPunct="1">
              <a:lnSpc>
                <a:spcPct val="100000"/>
              </a:lnSpc>
              <a:spcBef>
                <a:spcPts val="0"/>
              </a:spcBef>
              <a:spcAft>
                <a:spcPts val="0"/>
              </a:spcAft>
              <a:buClrTx/>
              <a:buSzTx/>
              <a:buFontTx/>
              <a:buNone/>
              <a:defRPr/>
            </a:pPr>
            <a:r>
              <a:rPr lang="en-US" dirty="0"/>
              <a:t>which is fueling a loss of biodiversity on a huge scale.</a:t>
            </a:r>
            <a:endParaRPr lang="en-US" dirty="0"/>
          </a:p>
          <a:p>
            <a:endParaRPr lang="fr-FR" dirty="0"/>
          </a:p>
        </p:txBody>
      </p:sp>
      <p:sp>
        <p:nvSpPr>
          <p:cNvPr id="4" name="Espace réservé du numéro de diapositive 3"/>
          <p:cNvSpPr>
            <a:spLocks noGrp="1"/>
          </p:cNvSpPr>
          <p:nvPr>
            <p:ph type="sldNum" sz="quarter" idx="10"/>
          </p:nvPr>
        </p:nvSpPr>
        <p:spPr/>
        <p:txBody>
          <a:bodyPr/>
          <a:lstStyle/>
          <a:p>
            <a:fld id="{0D43D924-B3B4-459B-AAFB-A8B257EDD47C}" type="slidenum">
              <a:rPr lang="fr-FR" smtClean="0"/>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107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fr-FR" altLang="fr-FR" sz="10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Espace réservé de l'image des diapositives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107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sz="1300" b="1" dirty="0" smtClean="0">
                <a:solidFill>
                  <a:prstClr val="black"/>
                </a:solidFill>
                <a:latin typeface="Century Gothic" panose="020B0502020202020204" pitchFamily="34" charset="0"/>
                <a:cs typeface="Arial" panose="020B0604020202020204"/>
              </a:rPr>
              <a:t>COMMENTS</a:t>
            </a:r>
            <a:r>
              <a:rPr lang="en-US" sz="1300" b="1" dirty="0">
                <a:solidFill>
                  <a:prstClr val="black"/>
                </a:solidFill>
                <a:latin typeface="Century Gothic" panose="020B0502020202020204" pitchFamily="34" charset="0"/>
                <a:cs typeface="Arial" panose="020B0604020202020204"/>
              </a:rPr>
              <a:t>:</a:t>
            </a:r>
            <a:endParaRPr lang="en-US" sz="1300" b="1" dirty="0">
              <a:solidFill>
                <a:prstClr val="black"/>
              </a:solidFill>
              <a:latin typeface="Century Gothic" panose="020B0502020202020204" pitchFamily="34" charset="0"/>
              <a:cs typeface="Arial" panose="020B0604020202020204"/>
            </a:endParaRPr>
          </a:p>
          <a:p>
            <a:r>
              <a:rPr lang="en-US" sz="1300" dirty="0">
                <a:solidFill>
                  <a:prstClr val="black"/>
                </a:solidFill>
                <a:latin typeface="Century Gothic" panose="020B0502020202020204" pitchFamily="34" charset="0"/>
                <a:cs typeface="Arial" panose="020B0604020202020204"/>
              </a:rPr>
              <a:t>Several sources asked consumers how they feel about this topic.  </a:t>
            </a:r>
            <a:endParaRPr lang="en-US" sz="1300" dirty="0">
              <a:solidFill>
                <a:prstClr val="black"/>
              </a:solidFill>
              <a:latin typeface="Century Gothic" panose="020B0502020202020204" pitchFamily="34" charset="0"/>
              <a:cs typeface="Arial" panose="020B0604020202020204"/>
            </a:endParaRPr>
          </a:p>
          <a:p>
            <a:r>
              <a:rPr lang="en-US" sz="1300" dirty="0">
                <a:solidFill>
                  <a:prstClr val="black"/>
                </a:solidFill>
                <a:latin typeface="Century Gothic" panose="020B0502020202020204" pitchFamily="34" charset="0"/>
                <a:cs typeface="Arial" panose="020B0604020202020204"/>
              </a:rPr>
              <a:t>They are aware of climate issues and we see that they feel empowered to make a difference regarding what they consumer, through the choices they make.  </a:t>
            </a:r>
            <a:endParaRPr lang="en-US" sz="1300" dirty="0">
              <a:solidFill>
                <a:prstClr val="black"/>
              </a:solidFill>
              <a:latin typeface="Century Gothic" panose="020B0502020202020204" pitchFamily="34" charset="0"/>
              <a:cs typeface="Arial" panose="020B0604020202020204"/>
            </a:endParaRPr>
          </a:p>
          <a:p>
            <a:r>
              <a:rPr lang="en-US" sz="1300" dirty="0">
                <a:solidFill>
                  <a:prstClr val="black"/>
                </a:solidFill>
                <a:latin typeface="Century Gothic" panose="020B0502020202020204" pitchFamily="34" charset="0"/>
                <a:cs typeface="Arial" panose="020B0604020202020204"/>
              </a:rPr>
              <a:t>In terms of products, they agree to pay 10% more for ethical products. </a:t>
            </a:r>
            <a:br>
              <a:rPr lang="en-US" sz="1300" dirty="0">
                <a:solidFill>
                  <a:prstClr val="black"/>
                </a:solidFill>
                <a:latin typeface="Century Gothic" panose="020B0502020202020204" pitchFamily="34" charset="0"/>
                <a:cs typeface="Arial" panose="020B0604020202020204"/>
              </a:rPr>
            </a:br>
            <a:r>
              <a:rPr lang="en-US" sz="1300" dirty="0">
                <a:solidFill>
                  <a:prstClr val="black"/>
                </a:solidFill>
                <a:latin typeface="Century Gothic" panose="020B0502020202020204" pitchFamily="34" charset="0"/>
                <a:cs typeface="Arial" panose="020B0604020202020204"/>
              </a:rPr>
              <a:t>Of course they are also looking for natural ingredients, but not at the expense of sustainability. Most of them know how to identify sustainable sourced ingredients and they are concerned that natural ingredients in the products they buy are not sustainable.</a:t>
            </a:r>
            <a:endParaRPr lang="en-US" sz="1300" dirty="0">
              <a:solidFill>
                <a:prstClr val="black"/>
              </a:solidFill>
              <a:latin typeface="Century Gothic" panose="020B0502020202020204" pitchFamily="34" charset="0"/>
              <a:cs typeface="Arial" panose="020B0604020202020204"/>
            </a:endParaRPr>
          </a:p>
          <a:p>
            <a:endParaRPr lang="en-US" sz="1300" b="1" dirty="0">
              <a:solidFill>
                <a:prstClr val="black"/>
              </a:solidFill>
              <a:latin typeface="Century Gothic" panose="020B0502020202020204" pitchFamily="34" charset="0"/>
              <a:cs typeface="Arial" panose="020B0604020202020204"/>
            </a:endParaRPr>
          </a:p>
          <a:p>
            <a:r>
              <a:rPr lang="en-US" sz="1300" b="1" dirty="0">
                <a:solidFill>
                  <a:prstClr val="black"/>
                </a:solidFill>
                <a:latin typeface="Century Gothic" panose="020B0502020202020204" pitchFamily="34" charset="0"/>
                <a:cs typeface="Arial" panose="020B0604020202020204"/>
              </a:rPr>
              <a:t>ADD INFO:</a:t>
            </a:r>
            <a:endParaRPr lang="en-US" sz="1300" b="1" dirty="0">
              <a:solidFill>
                <a:prstClr val="black"/>
              </a:solidFill>
              <a:latin typeface="Century Gothic" panose="020B0502020202020204" pitchFamily="34" charset="0"/>
              <a:cs typeface="Arial" panose="020B0604020202020204"/>
            </a:endParaRPr>
          </a:p>
          <a:p>
            <a:r>
              <a:rPr lang="en-US" sz="1300" b="1" i="1" dirty="0">
                <a:solidFill>
                  <a:prstClr val="black"/>
                </a:solidFill>
                <a:latin typeface="Century Gothic" panose="020B0502020202020204" pitchFamily="34" charset="0"/>
                <a:cs typeface="Arial" panose="020B0604020202020204"/>
              </a:rPr>
              <a:t>Source:</a:t>
            </a:r>
            <a:r>
              <a:rPr lang="en-US" sz="1300" i="1" dirty="0">
                <a:solidFill>
                  <a:prstClr val="black"/>
                </a:solidFill>
                <a:latin typeface="Century Gothic" panose="020B0502020202020204" pitchFamily="34" charset="0"/>
                <a:cs typeface="Arial" panose="020B0604020202020204"/>
              </a:rPr>
              <a:t> </a:t>
            </a:r>
            <a:r>
              <a:rPr lang="en-US" sz="1300" i="1" dirty="0" err="1">
                <a:solidFill>
                  <a:prstClr val="black"/>
                </a:solidFill>
                <a:latin typeface="Century Gothic" panose="020B0502020202020204" pitchFamily="34" charset="0"/>
                <a:cs typeface="Arial" panose="020B0604020202020204"/>
              </a:rPr>
              <a:t>Euromonitor</a:t>
            </a:r>
            <a:r>
              <a:rPr lang="en-US" sz="1300" i="1" dirty="0">
                <a:solidFill>
                  <a:prstClr val="black"/>
                </a:solidFill>
                <a:latin typeface="Century Gothic" panose="020B0502020202020204" pitchFamily="34" charset="0"/>
                <a:cs typeface="Arial" panose="020B0604020202020204"/>
              </a:rPr>
              <a:t> Report Ethical Living Market Drivers and Challenges | Dec, 2018</a:t>
            </a:r>
            <a:endParaRPr lang="en-US" sz="1300" i="1" dirty="0">
              <a:solidFill>
                <a:prstClr val="black"/>
              </a:solidFill>
              <a:latin typeface="Century Gothic" panose="020B0502020202020204" pitchFamily="34" charset="0"/>
              <a:cs typeface="Arial" panose="020B0604020202020204"/>
            </a:endParaRPr>
          </a:p>
          <a:p>
            <a:r>
              <a:rPr lang="en-US" sz="1300" b="1" i="1" dirty="0">
                <a:solidFill>
                  <a:prstClr val="black"/>
                </a:solidFill>
                <a:latin typeface="Century Gothic" panose="020B0502020202020204" pitchFamily="34" charset="0"/>
                <a:cs typeface="Arial" panose="020B0604020202020204"/>
              </a:rPr>
              <a:t>Source: </a:t>
            </a:r>
            <a:r>
              <a:rPr lang="en-US" sz="1300" i="1" dirty="0">
                <a:solidFill>
                  <a:prstClr val="black"/>
                </a:solidFill>
                <a:latin typeface="Century Gothic" panose="020B0502020202020204" pitchFamily="34" charset="0"/>
                <a:cs typeface="Arial" panose="020B0604020202020204"/>
              </a:rPr>
              <a:t>CICS database</a:t>
            </a:r>
            <a:endParaRPr lang="en-US" sz="1300" i="1" dirty="0">
              <a:solidFill>
                <a:prstClr val="black"/>
              </a:solidFill>
              <a:latin typeface="Century Gothic" panose="020B0502020202020204" pitchFamily="34" charset="0"/>
              <a:cs typeface="Arial" panose="020B0604020202020204"/>
            </a:endParaRPr>
          </a:p>
          <a:p>
            <a:endParaRPr lang="en-US" sz="1300" i="1" dirty="0">
              <a:solidFill>
                <a:prstClr val="black"/>
              </a:solidFill>
              <a:latin typeface="Century Gothic" panose="020B0502020202020204" pitchFamily="34" charset="0"/>
              <a:cs typeface="Arial" panose="020B0604020202020204"/>
            </a:endParaRPr>
          </a:p>
          <a:p>
            <a:r>
              <a:rPr lang="en-US" sz="1300" i="1" dirty="0">
                <a:solidFill>
                  <a:prstClr val="black"/>
                </a:solidFill>
                <a:latin typeface="Century Gothic" panose="020B0502020202020204" pitchFamily="34" charset="0"/>
                <a:cs typeface="Arial" panose="020B0604020202020204"/>
              </a:rPr>
              <a:t>CICS 2018: I know how to </a:t>
            </a:r>
            <a:r>
              <a:rPr lang="en-US" sz="1300" i="1" dirty="0" err="1">
                <a:solidFill>
                  <a:prstClr val="black"/>
                </a:solidFill>
                <a:latin typeface="Century Gothic" panose="020B0502020202020204" pitchFamily="34" charset="0"/>
                <a:cs typeface="Arial" panose="020B0604020202020204"/>
              </a:rPr>
              <a:t>identitfy</a:t>
            </a:r>
            <a:r>
              <a:rPr lang="en-US" sz="1300" i="1" dirty="0">
                <a:solidFill>
                  <a:prstClr val="black"/>
                </a:solidFill>
                <a:latin typeface="Century Gothic" panose="020B0502020202020204" pitchFamily="34" charset="0"/>
                <a:cs typeface="Arial" panose="020B0604020202020204"/>
              </a:rPr>
              <a:t> products with sustainable sourced ingredients (16 countries = global= 68%)</a:t>
            </a:r>
            <a:endParaRPr lang="en-US" sz="1300" i="1" dirty="0">
              <a:solidFill>
                <a:prstClr val="black"/>
              </a:solidFill>
              <a:latin typeface="Century Gothic" panose="020B0502020202020204" pitchFamily="34" charset="0"/>
              <a:cs typeface="Arial" panose="020B0604020202020204"/>
            </a:endParaRPr>
          </a:p>
          <a:p>
            <a:r>
              <a:rPr lang="en-US" sz="1300" i="1" dirty="0">
                <a:solidFill>
                  <a:prstClr val="black"/>
                </a:solidFill>
                <a:latin typeface="Century Gothic" panose="020B0502020202020204" pitchFamily="34" charset="0"/>
                <a:cs typeface="Arial" panose="020B0604020202020204"/>
              </a:rPr>
              <a:t>I am concerned that the ingredients used in natural products are not sustainable (SP 75% - south </a:t>
            </a:r>
            <a:r>
              <a:rPr lang="en-US" sz="1300" i="1" dirty="0" err="1">
                <a:solidFill>
                  <a:prstClr val="black"/>
                </a:solidFill>
                <a:latin typeface="Century Gothic" panose="020B0502020202020204" pitchFamily="34" charset="0"/>
                <a:cs typeface="Arial" panose="020B0604020202020204"/>
              </a:rPr>
              <a:t>africa</a:t>
            </a:r>
            <a:r>
              <a:rPr lang="en-US" sz="1300" i="1" dirty="0">
                <a:solidFill>
                  <a:prstClr val="black"/>
                </a:solidFill>
                <a:latin typeface="Century Gothic" panose="020B0502020202020204" pitchFamily="34" charset="0"/>
                <a:cs typeface="Arial" panose="020B0604020202020204"/>
              </a:rPr>
              <a:t> 68% - Japan 53%</a:t>
            </a:r>
            <a:endParaRPr lang="en-US" sz="1300" i="1" dirty="0">
              <a:solidFill>
                <a:prstClr val="black"/>
              </a:solidFill>
              <a:latin typeface="Century Gothic" panose="020B0502020202020204" pitchFamily="34" charset="0"/>
              <a:cs typeface="Arial" panose="020B0604020202020204"/>
            </a:endParaRPr>
          </a:p>
          <a:p>
            <a:endParaRPr lang="en-US" sz="1300" i="1" dirty="0">
              <a:solidFill>
                <a:prstClr val="black"/>
              </a:solidFill>
              <a:latin typeface="Century Gothic" panose="020B0502020202020204" pitchFamily="34" charset="0"/>
              <a:cs typeface="Arial" panose="020B0604020202020204"/>
            </a:endParaRPr>
          </a:p>
          <a:p>
            <a:pPr>
              <a:lnSpc>
                <a:spcPct val="150000"/>
              </a:lnSpc>
            </a:pPr>
            <a:r>
              <a:rPr lang="en-US" sz="1300" dirty="0">
                <a:solidFill>
                  <a:prstClr val="black"/>
                </a:solidFill>
                <a:cs typeface="Arial" panose="020B0604020202020204"/>
              </a:rPr>
              <a:t>Changing consumer dynamics are driving demand for </a:t>
            </a:r>
            <a:r>
              <a:rPr lang="en-US" sz="1300" b="1" dirty="0">
                <a:solidFill>
                  <a:prstClr val="black"/>
                </a:solidFill>
                <a:cs typeface="Arial" panose="020B0604020202020204"/>
              </a:rPr>
              <a:t>more </a:t>
            </a:r>
            <a:endParaRPr lang="en-US" sz="1300" b="1" dirty="0">
              <a:solidFill>
                <a:prstClr val="black"/>
              </a:solidFill>
              <a:cs typeface="Arial" panose="020B0604020202020204"/>
            </a:endParaRPr>
          </a:p>
          <a:p>
            <a:pPr>
              <a:lnSpc>
                <a:spcPct val="150000"/>
              </a:lnSpc>
            </a:pPr>
            <a:r>
              <a:rPr lang="en-US" sz="1300" b="1" dirty="0">
                <a:solidFill>
                  <a:prstClr val="black"/>
                </a:solidFill>
                <a:cs typeface="Arial" panose="020B0604020202020204"/>
              </a:rPr>
              <a:t>natural  ingredients</a:t>
            </a:r>
            <a:r>
              <a:rPr lang="en-US" sz="1300" dirty="0">
                <a:solidFill>
                  <a:prstClr val="black"/>
                </a:solidFill>
                <a:cs typeface="Arial" panose="020B0604020202020204"/>
              </a:rPr>
              <a:t>, as well as adding new approaches to this </a:t>
            </a:r>
            <a:endParaRPr lang="en-US" sz="1300" dirty="0">
              <a:solidFill>
                <a:prstClr val="black"/>
              </a:solidFill>
              <a:cs typeface="Arial" panose="020B0604020202020204"/>
            </a:endParaRPr>
          </a:p>
          <a:p>
            <a:pPr>
              <a:lnSpc>
                <a:spcPct val="150000"/>
              </a:lnSpc>
            </a:pPr>
            <a:r>
              <a:rPr lang="en-US" sz="1300" dirty="0">
                <a:solidFill>
                  <a:prstClr val="black"/>
                </a:solidFill>
                <a:cs typeface="Arial" panose="020B0604020202020204"/>
              </a:rPr>
              <a:t>still </a:t>
            </a:r>
            <a:r>
              <a:rPr lang="en-US" sz="1300" b="1" dirty="0">
                <a:solidFill>
                  <a:prstClr val="black"/>
                </a:solidFill>
                <a:cs typeface="Arial" panose="020B0604020202020204"/>
              </a:rPr>
              <a:t>undefined naturals category</a:t>
            </a:r>
            <a:r>
              <a:rPr lang="en-US" sz="1300" dirty="0">
                <a:solidFill>
                  <a:prstClr val="black"/>
                </a:solidFill>
                <a:cs typeface="Arial" panose="020B0604020202020204"/>
              </a:rPr>
              <a:t>. </a:t>
            </a:r>
            <a:endParaRPr lang="en-US" sz="1300" dirty="0">
              <a:solidFill>
                <a:prstClr val="black"/>
              </a:solidFill>
              <a:cs typeface="Arial" panose="020B0604020202020204"/>
            </a:endParaRPr>
          </a:p>
          <a:p>
            <a:pPr>
              <a:lnSpc>
                <a:spcPct val="150000"/>
              </a:lnSpc>
            </a:pPr>
            <a:endParaRPr lang="en-US" sz="1300" dirty="0">
              <a:solidFill>
                <a:prstClr val="black"/>
              </a:solidFill>
              <a:cs typeface="Arial" panose="020B0604020202020204"/>
            </a:endParaRPr>
          </a:p>
          <a:p>
            <a:pPr lvl="0">
              <a:lnSpc>
                <a:spcPct val="150000"/>
              </a:lnSpc>
            </a:pPr>
            <a:r>
              <a:rPr lang="en-US" sz="1300" dirty="0">
                <a:solidFill>
                  <a:srgbClr val="000000"/>
                </a:solidFill>
              </a:rPr>
              <a:t>Consumers are increasingly frustrated and confused as to which products are </a:t>
            </a:r>
            <a:r>
              <a:rPr lang="en-US" sz="1300" b="1" dirty="0">
                <a:solidFill>
                  <a:srgbClr val="000000"/>
                </a:solidFill>
              </a:rPr>
              <a:t>truly natural </a:t>
            </a:r>
            <a:r>
              <a:rPr lang="en-US" sz="1300" dirty="0">
                <a:solidFill>
                  <a:srgbClr val="000000"/>
                </a:solidFill>
              </a:rPr>
              <a:t>vs</a:t>
            </a:r>
            <a:r>
              <a:rPr lang="en-US" sz="1300" b="1" dirty="0">
                <a:solidFill>
                  <a:srgbClr val="000000"/>
                </a:solidFill>
              </a:rPr>
              <a:t>. naturally inspired </a:t>
            </a:r>
            <a:r>
              <a:rPr lang="en-US" sz="1300" dirty="0">
                <a:solidFill>
                  <a:srgbClr val="000000"/>
                </a:solidFill>
              </a:rPr>
              <a:t>vs. those which simply </a:t>
            </a:r>
            <a:r>
              <a:rPr lang="en-US" sz="1300" b="1" i="1" dirty="0">
                <a:solidFill>
                  <a:srgbClr val="000000"/>
                </a:solidFill>
              </a:rPr>
              <a:t>imply</a:t>
            </a:r>
            <a:r>
              <a:rPr lang="en-US" sz="1300" b="1" dirty="0">
                <a:solidFill>
                  <a:srgbClr val="000000"/>
                </a:solidFill>
              </a:rPr>
              <a:t> natural.</a:t>
            </a:r>
            <a:endParaRPr lang="en-US" sz="1300" b="1" dirty="0">
              <a:solidFill>
                <a:srgbClr val="000000"/>
              </a:solidFill>
            </a:endParaRPr>
          </a:p>
          <a:p>
            <a:pPr>
              <a:lnSpc>
                <a:spcPct val="150000"/>
              </a:lnSpc>
            </a:pPr>
            <a:endParaRPr lang="en-US" sz="1300" dirty="0">
              <a:solidFill>
                <a:prstClr val="black"/>
              </a:solidFill>
              <a:cs typeface="Arial" panose="020B0604020202020204"/>
            </a:endParaRPr>
          </a:p>
          <a:p>
            <a:pPr lvl="0">
              <a:lnSpc>
                <a:spcPct val="150000"/>
              </a:lnSpc>
            </a:pPr>
            <a:r>
              <a:rPr lang="en-US" sz="1300" dirty="0">
                <a:solidFill>
                  <a:prstClr val="black"/>
                </a:solidFill>
                <a:cs typeface="Arial" panose="020B0604020202020204"/>
              </a:rPr>
              <a:t>What consumers perceive as natural has grown to include </a:t>
            </a:r>
            <a:r>
              <a:rPr lang="en-US" sz="1300" b="1" dirty="0">
                <a:solidFill>
                  <a:prstClr val="black"/>
                </a:solidFill>
                <a:cs typeface="Arial" panose="020B0604020202020204"/>
              </a:rPr>
              <a:t>claims such as sustainability, authenticity and transparency</a:t>
            </a:r>
            <a:r>
              <a:rPr lang="en-US" sz="1300" dirty="0">
                <a:solidFill>
                  <a:prstClr val="black"/>
                </a:solidFill>
                <a:cs typeface="Arial" panose="020B0604020202020204"/>
              </a:rPr>
              <a:t>, among others and establishing a broader “green beauty” platform.</a:t>
            </a:r>
            <a:endParaRPr lang="en-US" sz="1300" dirty="0">
              <a:solidFill>
                <a:prstClr val="black"/>
              </a:solidFill>
              <a:cs typeface="Arial" panose="020B0604020202020204"/>
            </a:endParaRPr>
          </a:p>
          <a:p>
            <a:pPr>
              <a:lnSpc>
                <a:spcPct val="150000"/>
              </a:lnSpc>
            </a:pPr>
            <a:endParaRPr lang="en-US" sz="1300" dirty="0">
              <a:solidFill>
                <a:srgbClr val="000000"/>
              </a:solidFill>
            </a:endParaRPr>
          </a:p>
          <a:p>
            <a:pPr>
              <a:lnSpc>
                <a:spcPct val="150000"/>
              </a:lnSpc>
            </a:pPr>
            <a:r>
              <a:rPr lang="en-US" sz="1300" dirty="0">
                <a:solidFill>
                  <a:srgbClr val="000000"/>
                </a:solidFill>
              </a:rPr>
              <a:t>An increasingly savvy consumer with an abundance of information available at the click of a button is enabling them to make more informed purchasing decisions.  </a:t>
            </a:r>
            <a:endParaRPr lang="en-US" sz="1300" dirty="0">
              <a:solidFill>
                <a:srgbClr val="000000"/>
              </a:solidFill>
            </a:endParaRPr>
          </a:p>
          <a:p>
            <a:endParaRPr lang="en-US" sz="1300" i="1" dirty="0">
              <a:solidFill>
                <a:prstClr val="black"/>
              </a:solidFill>
              <a:latin typeface="Century Gothic" panose="020B0502020202020204" pitchFamily="34" charset="0"/>
              <a:cs typeface="Arial" panose="020B0604020202020204"/>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DBAA620-6759-4E5B-93B0-620E7D630B5F}" type="slidenum">
              <a:rPr lang="de-DE" smtClean="0">
                <a:solidFill>
                  <a:prstClr val="black"/>
                </a:solidFill>
              </a:rPr>
            </a:fld>
            <a:endParaRPr lang="de-DE">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0A2E4820-F52A-4A91-B3CF-0840C45E8DFB}" type="slidenum">
              <a:rPr lang="fr-FR" smtClean="0"/>
            </a:fld>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fr-FR" sz="1200" dirty="0" smtClean="0">
                <a:solidFill>
                  <a:srgbClr val="FF0000"/>
                </a:solidFill>
              </a:rPr>
              <a:t>Partage d’infos produits qui répond aux attentes conso</a:t>
            </a:r>
            <a:endParaRPr lang="fr-FR" sz="1200" dirty="0" smtClean="0">
              <a:solidFill>
                <a:srgbClr val="FF0000"/>
              </a:solidFill>
            </a:endParaRPr>
          </a:p>
          <a:p>
            <a:pPr algn="l"/>
            <a:r>
              <a:rPr lang="fr-FR" sz="1200" dirty="0" smtClean="0">
                <a:solidFill>
                  <a:srgbClr val="FF0000"/>
                </a:solidFill>
              </a:rPr>
              <a:t>Added value conso</a:t>
            </a:r>
            <a:endParaRPr lang="fr-FR" sz="1200" dirty="0" smtClean="0">
              <a:solidFill>
                <a:srgbClr val="FF0000"/>
              </a:solidFill>
            </a:endParaRPr>
          </a:p>
          <a:p>
            <a:pPr algn="l"/>
            <a:r>
              <a:rPr lang="fr-FR" sz="1200" dirty="0" smtClean="0">
                <a:solidFill>
                  <a:srgbClr val="FF0000"/>
                </a:solidFill>
              </a:rPr>
              <a:t>Histoire ingredient</a:t>
            </a:r>
            <a:endParaRPr lang="fr-FR" sz="1200" dirty="0" smtClean="0">
              <a:solidFill>
                <a:srgbClr val="FF0000"/>
              </a:solidFill>
            </a:endParaRPr>
          </a:p>
          <a:p>
            <a:pPr algn="l"/>
            <a:r>
              <a:rPr lang="fr-FR" sz="1200" dirty="0" smtClean="0">
                <a:solidFill>
                  <a:srgbClr val="FF0000"/>
                </a:solidFill>
              </a:rPr>
              <a:t>Meet the farmer (photos)</a:t>
            </a:r>
            <a:endParaRPr lang="fr-FR" sz="1200" dirty="0" smtClean="0">
              <a:solidFill>
                <a:srgbClr val="FF0000"/>
              </a:solidFill>
            </a:endParaRPr>
          </a:p>
          <a:p>
            <a:pPr algn="l"/>
            <a:r>
              <a:rPr lang="fr-FR" sz="1200" dirty="0" smtClean="0">
                <a:solidFill>
                  <a:srgbClr val="FF0000"/>
                </a:solidFill>
              </a:rPr>
              <a:t>Impact environmentaux/societaux</a:t>
            </a:r>
            <a:endParaRPr lang="fr-FR" sz="1200" dirty="0" smtClean="0">
              <a:solidFill>
                <a:srgbClr val="FF0000"/>
              </a:solidFill>
            </a:endParaRPr>
          </a:p>
          <a:p>
            <a:pPr algn="l"/>
            <a:endParaRPr lang="fr-FR" sz="1200" dirty="0" smtClean="0">
              <a:solidFill>
                <a:srgbClr val="FF0000"/>
              </a:solidFill>
            </a:endParaRPr>
          </a:p>
          <a:p>
            <a:pPr algn="l"/>
            <a:r>
              <a:rPr lang="fr-FR" sz="1200" dirty="0" smtClean="0">
                <a:solidFill>
                  <a:srgbClr val="FF0000"/>
                </a:solidFill>
              </a:rPr>
              <a:t>Apport histoire - sécurité</a:t>
            </a:r>
            <a:endParaRPr lang="fr-FR" sz="1200" dirty="0" smtClean="0">
              <a:solidFill>
                <a:srgbClr val="FF0000"/>
              </a:solidFill>
            </a:endParaRPr>
          </a:p>
          <a:p>
            <a:pPr algn="l"/>
            <a:endParaRPr lang="fr-FR" dirty="0"/>
          </a:p>
        </p:txBody>
      </p:sp>
      <p:sp>
        <p:nvSpPr>
          <p:cNvPr id="4" name="Espace réservé du numéro de diapositive 3"/>
          <p:cNvSpPr>
            <a:spLocks noGrp="1"/>
          </p:cNvSpPr>
          <p:nvPr>
            <p:ph type="sldNum" sz="quarter" idx="5"/>
          </p:nvPr>
        </p:nvSpPr>
        <p:spPr/>
        <p:txBody>
          <a:bodyPr/>
          <a:lstStyle/>
          <a:p>
            <a:fld id="{EF2C3ECE-9A85-4E75-896E-2F262F4B00E3}" type="slidenum">
              <a:rPr lang="fr-FR" smtClean="0"/>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71DDE10-06E2-4BEB-ABD4-174791579EFF}" type="slidenum">
              <a:rPr lang="fr-FR" smtClean="0"/>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eaLnBrk="1" hangingPunct="1">
              <a:spcBef>
                <a:spcPct val="0"/>
              </a:spcBef>
            </a:pPr>
            <a:endParaRPr lang="fr-FR" altLang="fr-FR" dirty="0" smtClean="0"/>
          </a:p>
        </p:txBody>
      </p:sp>
      <p:sp>
        <p:nvSpPr>
          <p:cNvPr id="4" name="Espace réservé du numéro de diapositive 3"/>
          <p:cNvSpPr>
            <a:spLocks noGrp="1"/>
          </p:cNvSpPr>
          <p:nvPr>
            <p:ph type="sldNum" sz="quarter" idx="10"/>
          </p:nvPr>
        </p:nvSpPr>
        <p:spPr/>
        <p:txBody>
          <a:bodyPr/>
          <a:lstStyle/>
          <a:p>
            <a:fld id="{A2BD7113-0C16-4FB0-B342-8688A0FEC66E}" type="slidenum">
              <a:rPr lang="en-US" altLang="fr-FR" smtClean="0">
                <a:solidFill>
                  <a:prstClr val="black"/>
                </a:solidFill>
              </a:rPr>
            </a:fld>
            <a:endParaRPr lang="en-US" altLang="fr-FR">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hasCustomPrompt="1"/>
          </p:nvPr>
        </p:nvSpPr>
        <p:spPr>
          <a:xfrm>
            <a:off x="457200" y="1416845"/>
            <a:ext cx="8121650" cy="2932510"/>
          </a:xfrm>
        </p:spPr>
        <p:txBody>
          <a:bodyPr/>
          <a:lstStyle/>
          <a:p>
            <a:pPr lvl="0"/>
            <a:r>
              <a:rPr lang="de-DE" smtClean="0"/>
              <a:t>Textmasterformat bearbeiten</a:t>
            </a:r>
            <a:endParaRPr lang="de-DE" smtClean="0"/>
          </a:p>
          <a:p>
            <a:pPr lvl="1"/>
            <a:r>
              <a:rPr lang="de-DE" smtClean="0"/>
              <a:t>Zweite Ebene</a:t>
            </a:r>
            <a:endParaRPr lang="de-DE" smtClean="0"/>
          </a:p>
          <a:p>
            <a:pPr lvl="2"/>
            <a:r>
              <a:rPr lang="de-DE" smtClean="0"/>
              <a:t>Dritte Ebene</a:t>
            </a:r>
            <a:endParaRPr lang="de-DE" smtClean="0"/>
          </a:p>
          <a:p>
            <a:pPr lvl="3"/>
            <a:r>
              <a:rPr lang="de-DE" smtClean="0"/>
              <a:t>Vierte Ebene</a:t>
            </a:r>
            <a:endParaRPr lang="de-DE" smtClean="0"/>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fld>
            <a:endParaRPr lang="de-DE" altLang="fr-FR"/>
          </a:p>
        </p:txBody>
      </p:sp>
    </p:spTree>
  </p:cSld>
  <p:clrMapOvr>
    <a:masterClrMapping/>
  </p:clrMapOvr>
  <p:transition>
    <p:zoom/>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fld>
            <a:endParaRPr lang="de-DE" alt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2 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3" imgW="8890" imgH="8890" progId="TCLayout.ActiveDocument.1">
                  <p:embed/>
                </p:oleObj>
              </mc:Choice>
              <mc:Fallback>
                <p:oleObj name="think-cell Slide" r:id="rId3" imgW="8890" imgH="8890" progId="TCLayout.ActiveDocument.1">
                  <p:embed/>
                  <p:pic>
                    <p:nvPicPr>
                      <p:cNvPr id="0" name="Imagem 1037"/>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el 1"/>
          <p:cNvSpPr>
            <a:spLocks noGrp="1"/>
          </p:cNvSpPr>
          <p:nvPr>
            <p:ph type="title"/>
          </p:nvPr>
        </p:nvSpPr>
        <p:spPr bwMode="gray">
          <a:xfrm>
            <a:off x="457202" y="426407"/>
            <a:ext cx="5808133" cy="165894"/>
          </a:xfrm>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3" name="Datumsplatzhalter 2"/>
          <p:cNvSpPr>
            <a:spLocks noGrp="1"/>
          </p:cNvSpPr>
          <p:nvPr>
            <p:ph type="dt" sz="half" idx="10"/>
          </p:nvPr>
        </p:nvSpPr>
        <p:spPr bwMode="gray">
          <a:xfrm>
            <a:off x="3651676" y="4755791"/>
            <a:ext cx="770467" cy="177799"/>
          </a:xfrm>
        </p:spPr>
        <p:txBody>
          <a:bodyPr/>
          <a:lstStyle/>
          <a:p>
            <a:pPr algn="r"/>
            <a:fld id="{D75739A7-A5AB-41CC-91AC-C78D7C93A759}" type="datetime1">
              <a:rPr lang="en-US">
                <a:solidFill>
                  <a:srgbClr val="878787"/>
                </a:solidFill>
              </a:rPr>
            </a:fld>
            <a:endParaRPr lang="en-US">
              <a:solidFill>
                <a:srgbClr val="878787"/>
              </a:solidFill>
            </a:endParaRPr>
          </a:p>
        </p:txBody>
      </p:sp>
      <p:sp>
        <p:nvSpPr>
          <p:cNvPr id="5" name="Foliennummernplatzhalter 4"/>
          <p:cNvSpPr>
            <a:spLocks noGrp="1"/>
          </p:cNvSpPr>
          <p:nvPr>
            <p:ph type="sldNum" sz="quarter" idx="12"/>
          </p:nvPr>
        </p:nvSpPr>
        <p:spPr bwMode="gray">
          <a:xfrm>
            <a:off x="8196626" y="4755791"/>
            <a:ext cx="468577" cy="177799"/>
          </a:xfrm>
        </p:spPr>
        <p:txBody>
          <a:bodyPr/>
          <a:lstStyle/>
          <a:p>
            <a:fld id="{8AD48C63-78A6-4D64-B839-4870EFEB9C13}" type="slidenum">
              <a:rPr lang="en-US" smtClean="0">
                <a:solidFill>
                  <a:srgbClr val="878787"/>
                </a:solidFill>
              </a:rPr>
            </a:fld>
            <a:endParaRPr lang="en-US">
              <a:solidFill>
                <a:srgbClr val="878787"/>
              </a:solidFill>
            </a:endParaRPr>
          </a:p>
        </p:txBody>
      </p:sp>
      <p:sp>
        <p:nvSpPr>
          <p:cNvPr id="6" name="Untertitel 2"/>
          <p:cNvSpPr>
            <a:spLocks noGrp="1"/>
          </p:cNvSpPr>
          <p:nvPr>
            <p:ph type="subTitle" idx="1"/>
          </p:nvPr>
        </p:nvSpPr>
        <p:spPr bwMode="gray">
          <a:xfrm>
            <a:off x="457202" y="661242"/>
            <a:ext cx="5808133" cy="288000"/>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err="1"/>
              <a:t>Formatvorlage</a:t>
            </a:r>
            <a:r>
              <a:rPr lang="en-US"/>
              <a:t> des </a:t>
            </a:r>
            <a:r>
              <a:rPr lang="en-US" err="1"/>
              <a:t>Untertitelmasters</a:t>
            </a:r>
            <a:r>
              <a:rPr lang="en-US"/>
              <a:t> </a:t>
            </a:r>
            <a:r>
              <a:rPr lang="en-US" err="1"/>
              <a:t>durch</a:t>
            </a:r>
            <a:r>
              <a:rPr lang="en-US"/>
              <a:t> </a:t>
            </a:r>
            <a:r>
              <a:rPr lang="en-US" err="1"/>
              <a:t>Klicken</a:t>
            </a:r>
            <a:r>
              <a:rPr lang="en-US"/>
              <a:t> </a:t>
            </a:r>
            <a:r>
              <a:rPr lang="en-US" err="1"/>
              <a:t>bearbeiten</a:t>
            </a:r>
            <a:endParaRPr lang="en-US"/>
          </a:p>
        </p:txBody>
      </p:sp>
      <p:sp>
        <p:nvSpPr>
          <p:cNvPr id="25" name="Fußzeilenplatzhalter 4"/>
          <p:cNvSpPr>
            <a:spLocks noGrp="1"/>
          </p:cNvSpPr>
          <p:nvPr>
            <p:ph type="ftr" sz="quarter" idx="3"/>
          </p:nvPr>
        </p:nvSpPr>
        <p:spPr bwMode="gray">
          <a:xfrm>
            <a:off x="4526281" y="4755791"/>
            <a:ext cx="2957990" cy="177799"/>
          </a:xfrm>
          <a:prstGeom prst="rect">
            <a:avLst/>
          </a:prstGeom>
        </p:spPr>
        <p:txBody>
          <a:bodyPr vert="horz" lIns="0" tIns="0" rIns="0" bIns="8100" rtlCol="0" anchor="b">
            <a:noAutofit/>
          </a:bodyPr>
          <a:lstStyle>
            <a:lvl1pPr algn="r">
              <a:defRPr lang="de-DE" sz="800" dirty="0">
                <a:solidFill>
                  <a:schemeClr val="tx2"/>
                </a:solidFill>
              </a:defRPr>
            </a:lvl1pPr>
          </a:lstStyle>
          <a:p>
            <a:r>
              <a:rPr lang="en-US">
                <a:solidFill>
                  <a:srgbClr val="878787"/>
                </a:solidFill>
              </a:rPr>
              <a:t>First name last name, date</a:t>
            </a:r>
            <a:endParaRPr lang="en-US">
              <a:solidFill>
                <a:srgbClr val="878787"/>
              </a:solidFill>
            </a:endParaRPr>
          </a:p>
        </p:txBody>
      </p:sp>
    </p:spTree>
  </p:cSld>
  <p:clrMapOvr>
    <a:masterClrMapping/>
  </p:clrMapOvr>
  <p:transition>
    <p:zoom/>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489882" y="4692656"/>
            <a:ext cx="770467" cy="177799"/>
          </a:xfrm>
        </p:spPr>
        <p:txBody>
          <a:bodyPr/>
          <a:lstStyle>
            <a:lvl1pPr algn="r">
              <a:defRPr/>
            </a:lvl1pPr>
          </a:lstStyle>
          <a:p/>
        </p:txBody>
      </p:sp>
      <p:sp>
        <p:nvSpPr>
          <p:cNvPr id="5" name="Fußzeilenplatzhalter 4"/>
          <p:cNvSpPr>
            <a:spLocks noGrp="1"/>
          </p:cNvSpPr>
          <p:nvPr>
            <p:ph type="ftr" sz="quarter" idx="11"/>
          </p:nvPr>
        </p:nvSpPr>
        <p:spPr>
          <a:xfrm>
            <a:off x="460375" y="4692656"/>
            <a:ext cx="3962400" cy="177799"/>
          </a:xfrm>
        </p:spPr>
        <p:txBody>
          <a:bodyPr/>
          <a:lstStyle>
            <a:lvl1pPr algn="l">
              <a:defRPr/>
            </a:lvl1pPr>
          </a:lstStyle>
          <a:p>
            <a:endParaRPr>
              <a:solidFill>
                <a:srgbClr val="A8A09E"/>
              </a:solidFill>
            </a:endParaRPr>
          </a:p>
        </p:txBody>
      </p:sp>
      <p:sp>
        <p:nvSpPr>
          <p:cNvPr id="6" name="Foliennummernplatzhalter 5"/>
          <p:cNvSpPr>
            <a:spLocks noGrp="1"/>
          </p:cNvSpPr>
          <p:nvPr>
            <p:ph type="sldNum" sz="quarter" idx="12"/>
          </p:nvPr>
        </p:nvSpPr>
        <p:spPr/>
        <p:txBody>
          <a:bodyPr/>
          <a:lstStyle/>
          <a:p>
            <a:fld id="{8AD48C63-78A6-4D64-B839-4870EFEB9C13}" type="slidenum">
              <a:rPr lang="de-DE" smtClean="0">
                <a:solidFill>
                  <a:srgbClr val="A8A09E"/>
                </a:solidFill>
              </a:rPr>
            </a:fld>
            <a:endParaRPr lang="de-DE">
              <a:solidFill>
                <a:srgbClr val="A8A09E"/>
              </a:solidFill>
            </a:endParaRPr>
          </a:p>
        </p:txBody>
      </p:sp>
      <p:sp>
        <p:nvSpPr>
          <p:cNvPr id="18" name="Bildplatzhalter 17"/>
          <p:cNvSpPr>
            <a:spLocks noGrp="1"/>
          </p:cNvSpPr>
          <p:nvPr>
            <p:ph type="pic" sz="quarter" idx="21"/>
          </p:nvPr>
        </p:nvSpPr>
        <p:spPr>
          <a:xfrm>
            <a:off x="284559" y="226815"/>
            <a:ext cx="8574882" cy="4465837"/>
          </a:xfrm>
        </p:spPr>
        <p:txBody>
          <a:bodyPr/>
          <a:lstStyle/>
          <a:p>
            <a:endParaRPr lang="de-DE"/>
          </a:p>
        </p:txBody>
      </p:sp>
      <p:sp>
        <p:nvSpPr>
          <p:cNvPr id="2" name="Titel 1"/>
          <p:cNvSpPr>
            <a:spLocks noGrp="1"/>
          </p:cNvSpPr>
          <p:nvPr>
            <p:ph type="ctrTitle"/>
          </p:nvPr>
        </p:nvSpPr>
        <p:spPr>
          <a:xfrm>
            <a:off x="460375" y="2209207"/>
            <a:ext cx="8119268" cy="301825"/>
          </a:xfrm>
        </p:spPr>
        <p:txBody>
          <a:bodyPr anchor="b"/>
          <a:lstStyle>
            <a:lvl1pPr algn="l">
              <a:defRPr sz="3400">
                <a:solidFill>
                  <a:schemeClr val="bg1"/>
                </a:solidFill>
              </a:defRPr>
            </a:lvl1pPr>
          </a:lstStyle>
          <a:p>
            <a:r>
              <a:rPr lang="de-DE"/>
              <a:t>Titelmasterformat durch Klicken bearbeiten</a:t>
            </a:r>
            <a:endParaRPr lang="de-DE"/>
          </a:p>
        </p:txBody>
      </p:sp>
      <p:sp>
        <p:nvSpPr>
          <p:cNvPr id="3" name="Untertitel 2"/>
          <p:cNvSpPr>
            <a:spLocks noGrp="1"/>
          </p:cNvSpPr>
          <p:nvPr>
            <p:ph type="subTitle" idx="1"/>
          </p:nvPr>
        </p:nvSpPr>
        <p:spPr>
          <a:xfrm>
            <a:off x="460375" y="2525321"/>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DE"/>
          </a:p>
        </p:txBody>
      </p:sp>
      <p:sp>
        <p:nvSpPr>
          <p:cNvPr id="17" name="Textplatzhalter 16"/>
          <p:cNvSpPr>
            <a:spLocks noGrp="1"/>
          </p:cNvSpPr>
          <p:nvPr>
            <p:ph type="body" sz="quarter" idx="22" hasCustomPrompt="1"/>
          </p:nvPr>
        </p:nvSpPr>
        <p:spPr>
          <a:xfrm>
            <a:off x="460375" y="3139075"/>
            <a:ext cx="3962400" cy="1210283"/>
          </a:xfrm>
        </p:spPr>
        <p:txBody>
          <a:bodyPr/>
          <a:lstStyle>
            <a:lvl1pPr marL="9334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1pPr>
            <a:lvl2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2pPr>
            <a:lvl3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3pPr>
            <a:lvl4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4pPr>
            <a:lvl5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5pPr>
            <a:lvl6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6pPr>
            <a:lvl7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7pPr>
            <a:lvl8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8pPr>
            <a:lvl9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9pPr>
          </a:lstStyle>
          <a:p>
            <a:pPr lvl="0"/>
            <a:r>
              <a:rPr lang="de-DE"/>
              <a:t>Textmaster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a:p>
            <a:pPr lvl="5"/>
            <a:r>
              <a:rPr lang="de-DE"/>
              <a:t>s</a:t>
            </a:r>
            <a:endParaRPr lang="de-DE"/>
          </a:p>
          <a:p>
            <a:pPr lvl="6"/>
            <a:r>
              <a:rPr lang="de-DE"/>
              <a:t>s</a:t>
            </a:r>
            <a:endParaRPr lang="de-DE"/>
          </a:p>
          <a:p>
            <a:pPr lvl="7"/>
            <a:r>
              <a:rPr lang="de-DE"/>
              <a:t>a</a:t>
            </a:r>
            <a:endParaRPr lang="de-DE"/>
          </a:p>
          <a:p>
            <a:pPr lvl="8"/>
            <a:r>
              <a:rPr lang="de-DE"/>
              <a:t>n</a:t>
            </a:r>
            <a:endParaRPr lang="de-DE"/>
          </a:p>
        </p:txBody>
      </p:sp>
    </p:spTree>
  </p:cSld>
  <p:clrMapOvr>
    <a:masterClrMapping/>
  </p:clrMapOvr>
  <p:transition>
    <p:zo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elfolie">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a:xfrm>
            <a:off x="284559" y="226815"/>
            <a:ext cx="8574882" cy="4465837"/>
          </a:xfrm>
        </p:spPr>
        <p:txBody>
          <a:bodyPr rtlCol="0">
            <a:noAutofit/>
          </a:bodyPr>
          <a:lstStyle/>
          <a:p>
            <a:pPr lvl="0"/>
            <a:endParaRPr lang="de-DE" noProof="0" dirty="0"/>
          </a:p>
        </p:txBody>
      </p:sp>
      <p:sp>
        <p:nvSpPr>
          <p:cNvPr id="2" name="Titel 1"/>
          <p:cNvSpPr>
            <a:spLocks noGrp="1"/>
          </p:cNvSpPr>
          <p:nvPr>
            <p:ph type="ctrTitle"/>
          </p:nvPr>
        </p:nvSpPr>
        <p:spPr>
          <a:xfrm>
            <a:off x="460375" y="2209203"/>
            <a:ext cx="8119268" cy="301825"/>
          </a:xfrm>
        </p:spPr>
        <p:txBody>
          <a:bodyPr anchor="b"/>
          <a:lstStyle>
            <a:lvl1pPr algn="l">
              <a:defRPr sz="340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0375" y="2525317"/>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7" name="Textplatzhalter 16"/>
          <p:cNvSpPr>
            <a:spLocks noGrp="1"/>
          </p:cNvSpPr>
          <p:nvPr>
            <p:ph type="body" sz="quarter" idx="22" hasCustomPrompt="1"/>
          </p:nvPr>
        </p:nvSpPr>
        <p:spPr>
          <a:xfrm>
            <a:off x="460375" y="3139071"/>
            <a:ext cx="3962400" cy="1210283"/>
          </a:xfrm>
        </p:spPr>
        <p:txBody>
          <a:bodyPr/>
          <a:lstStyle>
            <a:lvl1pPr marL="9334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1pPr>
            <a:lvl2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2pPr>
            <a:lvl3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3pPr>
            <a:lvl4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4pPr>
            <a:lvl5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5pPr>
            <a:lvl6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6pPr>
            <a:lvl7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7pPr>
            <a:lvl8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8pPr>
            <a:lvl9pPr marL="92075" indent="-107950">
              <a:buSzPct val="80000"/>
              <a:buFont typeface="Times New Roman" panose="02020603050405020304" pitchFamily="18" charset="0"/>
              <a:buChar char="∙"/>
              <a:defRPr sz="1500" b="1" i="1">
                <a:solidFill>
                  <a:schemeClr val="bg1"/>
                </a:solidFill>
                <a:latin typeface="Times New Roman" panose="02020603050405020304" pitchFamily="18" charset="0"/>
                <a:cs typeface="Times New Roman" panose="02020603050405020304" pitchFamily="18" charset="0"/>
              </a:defRPr>
            </a:lvl9pPr>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de-DE" dirty="0" smtClean="0"/>
          </a:p>
          <a:p>
            <a:pPr lvl="5"/>
            <a:r>
              <a:rPr lang="de-DE" dirty="0" smtClean="0"/>
              <a:t>s</a:t>
            </a:r>
            <a:endParaRPr lang="de-DE" dirty="0" smtClean="0"/>
          </a:p>
          <a:p>
            <a:pPr lvl="6"/>
            <a:r>
              <a:rPr lang="de-DE" dirty="0" smtClean="0"/>
              <a:t>s</a:t>
            </a:r>
            <a:endParaRPr lang="de-DE" dirty="0" smtClean="0"/>
          </a:p>
          <a:p>
            <a:pPr lvl="7"/>
            <a:r>
              <a:rPr lang="de-DE" dirty="0" smtClean="0"/>
              <a:t>a</a:t>
            </a:r>
            <a:endParaRPr lang="de-DE" dirty="0" smtClean="0"/>
          </a:p>
          <a:p>
            <a:pPr lvl="8"/>
            <a:r>
              <a:rPr lang="de-DE" dirty="0" smtClean="0"/>
              <a:t>n</a:t>
            </a:r>
            <a:endParaRPr lang="de-DE" dirty="0"/>
          </a:p>
        </p:txBody>
      </p:sp>
      <p:sp>
        <p:nvSpPr>
          <p:cNvPr id="6" name="Datumsplatzhalter 3"/>
          <p:cNvSpPr>
            <a:spLocks noGrp="1"/>
          </p:cNvSpPr>
          <p:nvPr>
            <p:ph type="dt" sz="half" idx="23"/>
          </p:nvPr>
        </p:nvSpPr>
        <p:spPr>
          <a:xfrm>
            <a:off x="4489450" y="4692650"/>
            <a:ext cx="771525" cy="177800"/>
          </a:xfrm>
        </p:spPr>
        <p:txBody>
          <a:bodyPr/>
          <a:lstStyle>
            <a:lvl1pPr>
              <a:defRPr/>
            </a:lvl1pPr>
          </a:lstStyle>
          <a:p>
            <a:endParaRPr lang="de-DE" altLang="fr-FR">
              <a:solidFill>
                <a:prstClr val="black"/>
              </a:solidFill>
            </a:endParaRPr>
          </a:p>
        </p:txBody>
      </p:sp>
      <p:sp>
        <p:nvSpPr>
          <p:cNvPr id="7" name="Fußzeilenplatzhalter 4"/>
          <p:cNvSpPr>
            <a:spLocks noGrp="1"/>
          </p:cNvSpPr>
          <p:nvPr>
            <p:ph type="ftr" sz="quarter" idx="24"/>
          </p:nvPr>
        </p:nvSpPr>
        <p:spPr>
          <a:xfrm>
            <a:off x="460375" y="4692650"/>
            <a:ext cx="3962400" cy="177800"/>
          </a:xfrm>
        </p:spPr>
        <p:txBody>
          <a:bodyPr/>
          <a:lstStyle>
            <a:lvl1pPr algn="l">
              <a:defRPr/>
            </a:lvl1pPr>
          </a:lstStyle>
          <a:p>
            <a:endParaRPr lang="de-DE" altLang="fr-FR"/>
          </a:p>
        </p:txBody>
      </p:sp>
      <p:sp>
        <p:nvSpPr>
          <p:cNvPr id="8" name="Foliennummernplatzhalter 5"/>
          <p:cNvSpPr>
            <a:spLocks noGrp="1"/>
          </p:cNvSpPr>
          <p:nvPr>
            <p:ph type="sldNum" sz="quarter" idx="25"/>
          </p:nvPr>
        </p:nvSpPr>
        <p:spPr/>
        <p:txBody>
          <a:bodyPr/>
          <a:lstStyle>
            <a:lvl1pPr>
              <a:defRPr/>
            </a:lvl1pPr>
          </a:lstStyle>
          <a:p>
            <a:fld id="{F0DC232F-F304-4CF1-95B1-7228ABDD54E4}" type="slidenum">
              <a:rPr lang="de-DE" altLang="fr-FR"/>
            </a:fld>
            <a:endParaRPr lang="de-DE" altLang="fr-FR"/>
          </a:p>
        </p:txBody>
      </p:sp>
      <p:pic>
        <p:nvPicPr>
          <p:cNvPr id="11" name="Image 10"/>
          <p:cNvPicPr>
            <a:picLocks noChangeAspect="1"/>
          </p:cNvPicPr>
          <p:nvPr userDrawn="1"/>
        </p:nvPicPr>
        <p:blipFill>
          <a:blip r:embed="rId2" cstate="screen"/>
          <a:stretch>
            <a:fillRect/>
          </a:stretch>
        </p:blipFill>
        <p:spPr>
          <a:xfrm>
            <a:off x="7164288" y="339502"/>
            <a:ext cx="1440160" cy="431317"/>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Titelfolie (mit Textbox)">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a:xfrm>
            <a:off x="284559" y="226815"/>
            <a:ext cx="8574882" cy="4465837"/>
          </a:xfrm>
        </p:spPr>
        <p:txBody>
          <a:bodyPr rtlCol="0">
            <a:noAutofit/>
          </a:bodyPr>
          <a:lstStyle/>
          <a:p>
            <a:pPr lvl="0"/>
            <a:endParaRPr lang="de-DE" noProof="0" dirty="0"/>
          </a:p>
        </p:txBody>
      </p:sp>
      <p:sp>
        <p:nvSpPr>
          <p:cNvPr id="2" name="Titel 1"/>
          <p:cNvSpPr>
            <a:spLocks noGrp="1"/>
          </p:cNvSpPr>
          <p:nvPr>
            <p:ph type="ctrTitle"/>
          </p:nvPr>
        </p:nvSpPr>
        <p:spPr>
          <a:xfrm>
            <a:off x="460375" y="2209203"/>
            <a:ext cx="8119268" cy="301825"/>
          </a:xfrm>
        </p:spPr>
        <p:txBody>
          <a:bodyPr anchor="b"/>
          <a:lstStyle>
            <a:lvl1pPr algn="l">
              <a:defRPr sz="3400">
                <a:solidFill>
                  <a:schemeClr val="bg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0375" y="2525317"/>
            <a:ext cx="8119268"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7" name="Textplatzhalter 16"/>
          <p:cNvSpPr>
            <a:spLocks noGrp="1"/>
          </p:cNvSpPr>
          <p:nvPr>
            <p:ph type="body" sz="quarter" idx="22" hasCustomPrompt="1"/>
          </p:nvPr>
        </p:nvSpPr>
        <p:spPr>
          <a:xfrm>
            <a:off x="460375" y="3139071"/>
            <a:ext cx="3962400" cy="1210283"/>
          </a:xfrm>
        </p:spPr>
        <p:txBody>
          <a:bodyPr/>
          <a:lstStyle>
            <a:lvl1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1pPr>
            <a:lvl2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2pPr>
            <a:lvl3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3pPr>
            <a:lvl4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4pPr>
            <a:lvl5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5pPr>
            <a:lvl6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6pPr>
            <a:lvl7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7pPr>
            <a:lvl8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8pPr>
            <a:lvl9pPr marL="93980" indent="-93980">
              <a:spcBef>
                <a:spcPts val="100"/>
              </a:spcBef>
              <a:spcAft>
                <a:spcPts val="0"/>
              </a:spcAft>
              <a:buSzPct val="80000"/>
              <a:buFont typeface="Times New Roman" panose="02020603050405020304" pitchFamily="18" charset="0"/>
              <a:buChar char="∙"/>
              <a:defRPr sz="1500" b="0" i="1">
                <a:solidFill>
                  <a:schemeClr val="bg1"/>
                </a:solidFill>
                <a:latin typeface="Times New Roman" panose="02020603050405020304" pitchFamily="18" charset="0"/>
                <a:cs typeface="Times New Roman" panose="02020603050405020304" pitchFamily="18" charset="0"/>
              </a:defRPr>
            </a:lvl9pPr>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de-DE" dirty="0" smtClean="0"/>
          </a:p>
          <a:p>
            <a:pPr lvl="5"/>
            <a:r>
              <a:rPr lang="de-DE" dirty="0" smtClean="0"/>
              <a:t>s</a:t>
            </a:r>
            <a:endParaRPr lang="de-DE" dirty="0" smtClean="0"/>
          </a:p>
          <a:p>
            <a:pPr lvl="6"/>
            <a:r>
              <a:rPr lang="de-DE" dirty="0" smtClean="0"/>
              <a:t>s</a:t>
            </a:r>
            <a:endParaRPr lang="de-DE" dirty="0" smtClean="0"/>
          </a:p>
          <a:p>
            <a:pPr lvl="7"/>
            <a:r>
              <a:rPr lang="de-DE" dirty="0" smtClean="0"/>
              <a:t>a</a:t>
            </a:r>
            <a:endParaRPr lang="de-DE" dirty="0" smtClean="0"/>
          </a:p>
          <a:p>
            <a:pPr lvl="8"/>
            <a:r>
              <a:rPr lang="de-DE" dirty="0" smtClean="0"/>
              <a:t>n</a:t>
            </a:r>
            <a:endParaRPr lang="de-DE" dirty="0"/>
          </a:p>
        </p:txBody>
      </p:sp>
      <p:sp>
        <p:nvSpPr>
          <p:cNvPr id="6" name="Datumsplatzhalter 3"/>
          <p:cNvSpPr>
            <a:spLocks noGrp="1"/>
          </p:cNvSpPr>
          <p:nvPr>
            <p:ph type="dt" sz="half" idx="23"/>
          </p:nvPr>
        </p:nvSpPr>
        <p:spPr/>
        <p:txBody>
          <a:bodyPr/>
          <a:lstStyle>
            <a:lvl1pPr>
              <a:defRPr/>
            </a:lvl1pPr>
          </a:lstStyle>
          <a:p>
            <a:endParaRPr lang="de-DE" altLang="fr-FR">
              <a:solidFill>
                <a:prstClr val="black"/>
              </a:solidFill>
            </a:endParaRPr>
          </a:p>
        </p:txBody>
      </p:sp>
      <p:sp>
        <p:nvSpPr>
          <p:cNvPr id="7" name="Foliennummernplatzhalter 5"/>
          <p:cNvSpPr>
            <a:spLocks noGrp="1"/>
          </p:cNvSpPr>
          <p:nvPr>
            <p:ph type="sldNum" sz="quarter" idx="24"/>
          </p:nvPr>
        </p:nvSpPr>
        <p:spPr/>
        <p:txBody>
          <a:bodyPr/>
          <a:lstStyle>
            <a:lvl1pPr>
              <a:defRPr/>
            </a:lvl1pPr>
          </a:lstStyle>
          <a:p>
            <a:fld id="{F3516964-4BFF-45AF-83A6-995169299694}" type="slidenum">
              <a:rPr lang="de-DE" altLang="fr-FR"/>
            </a:fld>
            <a:endParaRPr lang="de-DE" altLang="fr-FR"/>
          </a:p>
        </p:txBody>
      </p:sp>
      <p:sp>
        <p:nvSpPr>
          <p:cNvPr id="8" name="Fußzeilenplatzhalter 4"/>
          <p:cNvSpPr>
            <a:spLocks noGrp="1"/>
          </p:cNvSpPr>
          <p:nvPr>
            <p:ph type="ftr" sz="quarter" idx="25"/>
          </p:nvPr>
        </p:nvSpPr>
        <p:spPr/>
        <p:txBody>
          <a:bodyPr/>
          <a:lstStyle>
            <a:lvl1pPr>
              <a:defRPr/>
            </a:lvl1pPr>
          </a:lstStyle>
          <a:p>
            <a:endParaRPr lang="de-DE" altLang="fr-FR"/>
          </a:p>
        </p:txBody>
      </p:sp>
      <p:pic>
        <p:nvPicPr>
          <p:cNvPr id="9" name="Image 8"/>
          <p:cNvPicPr>
            <a:picLocks noChangeAspect="1"/>
          </p:cNvPicPr>
          <p:nvPr userDrawn="1"/>
        </p:nvPicPr>
        <p:blipFill>
          <a:blip r:embed="rId2" cstate="print"/>
          <a:stretch>
            <a:fillRect/>
          </a:stretch>
        </p:blipFill>
        <p:spPr>
          <a:xfrm>
            <a:off x="7137837" y="339502"/>
            <a:ext cx="1442601" cy="43204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hasCustomPrompt="1"/>
          </p:nvPr>
        </p:nvSpPr>
        <p:spPr>
          <a:xfrm>
            <a:off x="457200" y="1416845"/>
            <a:ext cx="8121650" cy="2932510"/>
          </a:xfrm>
        </p:spPr>
        <p:txBody>
          <a:bodyPr/>
          <a:lstStyle/>
          <a:p>
            <a:pPr lvl="0"/>
            <a:r>
              <a:rPr lang="de-DE" smtClean="0"/>
              <a:t>Textmasterformat bearbeiten</a:t>
            </a:r>
            <a:endParaRPr lang="de-DE" smtClean="0"/>
          </a:p>
          <a:p>
            <a:pPr lvl="1"/>
            <a:r>
              <a:rPr lang="de-DE" smtClean="0"/>
              <a:t>Zweite Ebene</a:t>
            </a:r>
            <a:endParaRPr lang="de-DE" smtClean="0"/>
          </a:p>
          <a:p>
            <a:pPr lvl="2"/>
            <a:r>
              <a:rPr lang="de-DE" smtClean="0"/>
              <a:t>Dritte Ebene</a:t>
            </a:r>
            <a:endParaRPr lang="de-DE" smtClean="0"/>
          </a:p>
          <a:p>
            <a:pPr lvl="3"/>
            <a:r>
              <a:rPr lang="de-DE" smtClean="0"/>
              <a:t>Vierte Ebene</a:t>
            </a:r>
            <a:endParaRPr lang="de-DE" smtClean="0"/>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fld>
            <a:endParaRPr lang="de-DE" alt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hasCustomPrompt="1"/>
          </p:nvPr>
        </p:nvSpPr>
        <p:spPr/>
        <p:txBody>
          <a:bodyPr/>
          <a:lstStyle/>
          <a:p>
            <a:pPr lvl="0"/>
            <a:r>
              <a:rPr lang="de-DE" smtClean="0"/>
              <a:t>Textmasterformat bearbeiten</a:t>
            </a:r>
            <a:endParaRPr lang="de-DE" smtClean="0"/>
          </a:p>
          <a:p>
            <a:pPr lvl="1"/>
            <a:r>
              <a:rPr lang="de-DE" smtClean="0"/>
              <a:t>Zweite Ebene</a:t>
            </a:r>
            <a:endParaRPr lang="de-DE" smtClean="0"/>
          </a:p>
          <a:p>
            <a:pPr lvl="2"/>
            <a:r>
              <a:rPr lang="de-DE" smtClean="0"/>
              <a:t>Dritte Ebene</a:t>
            </a:r>
            <a:endParaRPr lang="de-DE" smtClean="0"/>
          </a:p>
          <a:p>
            <a:pPr lvl="3"/>
            <a:r>
              <a:rPr lang="de-DE" smtClean="0"/>
              <a:t>Vierte Ebene</a:t>
            </a:r>
            <a:endParaRPr lang="de-DE" smtClean="0"/>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fld>
            <a:endParaRPr lang="de-DE" altLang="fr-FR" dirty="0"/>
          </a:p>
        </p:txBody>
      </p:sp>
    </p:spTree>
  </p:cSld>
  <p:clrMapOvr>
    <a:masterClrMapping/>
  </p:clrMapOvr>
  <p:transition>
    <p:zoom/>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20"/>
            <a:ext cx="7772400" cy="1102519"/>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hasCustomPrompt="1"/>
          </p:nvPr>
        </p:nvSpPr>
        <p:spPr>
          <a:xfrm>
            <a:off x="611188" y="383382"/>
            <a:ext cx="7918450" cy="4360069"/>
          </a:xfrm>
        </p:spPr>
        <p:txBody>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fr-FR"/>
          </a:p>
        </p:txBody>
      </p:sp>
      <p:sp>
        <p:nvSpPr>
          <p:cNvPr id="3"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Research Design + Test Sampl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11188" y="343485"/>
            <a:ext cx="6912000" cy="297000"/>
          </a:xfrm>
        </p:spPr>
        <p:txBody>
          <a:bodyPr>
            <a:noAutofit/>
          </a:bodyPr>
          <a:lstStyle>
            <a:lvl1pPr>
              <a:lnSpc>
                <a:spcPct val="100000"/>
              </a:lnSpc>
              <a:defRPr sz="2000"/>
            </a:lvl1pPr>
          </a:lstStyle>
          <a:p>
            <a:r>
              <a:rPr lang="en-US" noProof="0" smtClean="0"/>
              <a:t>Titelmasterformat durch Klicken</a:t>
            </a:r>
            <a:endParaRPr lang="en-US" noProof="0"/>
          </a:p>
        </p:txBody>
      </p:sp>
      <p:sp>
        <p:nvSpPr>
          <p:cNvPr id="24" name="Textplatzhalter 23"/>
          <p:cNvSpPr>
            <a:spLocks noGrp="1"/>
          </p:cNvSpPr>
          <p:nvPr>
            <p:ph type="body" sz="quarter" idx="12" hasCustomPrompt="1"/>
          </p:nvPr>
        </p:nvSpPr>
        <p:spPr>
          <a:xfrm>
            <a:off x="611188" y="637428"/>
            <a:ext cx="6912000" cy="584177"/>
          </a:xfrm>
        </p:spPr>
        <p:txBody>
          <a:bodyPr/>
          <a:lstStyle>
            <a:lvl1pPr>
              <a:spcBef>
                <a:spcPts val="0"/>
              </a:spcBef>
              <a:spcAft>
                <a:spcPts val="0"/>
              </a:spcAft>
              <a:defRPr sz="1600">
                <a:solidFill>
                  <a:srgbClr val="7030A0"/>
                </a:solidFill>
              </a:defRPr>
            </a:lvl1pPr>
          </a:lstStyle>
          <a:p>
            <a:pPr lvl="0"/>
            <a:r>
              <a:rPr lang="en-US" noProof="0" smtClean="0"/>
              <a:t>Textmasterformat bearbeiten</a:t>
            </a:r>
            <a:endParaRPr lang="en-US" noProof="0"/>
          </a:p>
        </p:txBody>
      </p:sp>
      <p:sp>
        <p:nvSpPr>
          <p:cNvPr id="29" name="Textplatzhalter 28"/>
          <p:cNvSpPr>
            <a:spLocks noGrp="1"/>
          </p:cNvSpPr>
          <p:nvPr>
            <p:ph type="body" sz="quarter" idx="13" hasCustomPrompt="1"/>
          </p:nvPr>
        </p:nvSpPr>
        <p:spPr>
          <a:xfrm>
            <a:off x="611188" y="4709596"/>
            <a:ext cx="7918450" cy="232172"/>
          </a:xfrm>
        </p:spPr>
        <p:txBody>
          <a:bodyPr anchor="b"/>
          <a:lstStyle>
            <a:lvl1pPr>
              <a:spcBef>
                <a:spcPts val="0"/>
              </a:spcBef>
              <a:spcAft>
                <a:spcPts val="0"/>
              </a:spcAft>
              <a:tabLst>
                <a:tab pos="534670" algn="l"/>
              </a:tabLst>
              <a:defRPr sz="800" b="0"/>
            </a:lvl1pPr>
            <a:lvl2pPr>
              <a:defRPr sz="800"/>
            </a:lvl2pPr>
            <a:lvl3pPr>
              <a:defRPr sz="800"/>
            </a:lvl3pPr>
            <a:lvl4pPr>
              <a:defRPr sz="800"/>
            </a:lvl4pPr>
            <a:lvl5pPr>
              <a:defRPr sz="800"/>
            </a:lvl5pPr>
          </a:lstStyle>
          <a:p>
            <a:pPr lvl="0"/>
            <a:r>
              <a:rPr lang="en-US" noProof="0" smtClean="0"/>
              <a:t>Textmasterformat bearbeiten</a:t>
            </a:r>
            <a:endParaRPr lang="en-US" noProof="0"/>
          </a:p>
        </p:txBody>
      </p:sp>
      <p:sp>
        <p:nvSpPr>
          <p:cNvPr id="5" name="Inhaltsplatzhalter 4"/>
          <p:cNvSpPr>
            <a:spLocks noGrp="1"/>
          </p:cNvSpPr>
          <p:nvPr>
            <p:ph sz="quarter" idx="14" hasCustomPrompt="1"/>
          </p:nvPr>
        </p:nvSpPr>
        <p:spPr>
          <a:xfrm>
            <a:off x="611188" y="1502574"/>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6" name="Inhaltsplatzhalter 4"/>
          <p:cNvSpPr>
            <a:spLocks noGrp="1"/>
          </p:cNvSpPr>
          <p:nvPr>
            <p:ph sz="quarter" idx="15" hasCustomPrompt="1"/>
          </p:nvPr>
        </p:nvSpPr>
        <p:spPr>
          <a:xfrm>
            <a:off x="4577626" y="1502574"/>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7" name="Inhaltsplatzhalter 4"/>
          <p:cNvSpPr>
            <a:spLocks noGrp="1"/>
          </p:cNvSpPr>
          <p:nvPr>
            <p:ph sz="quarter" idx="16" hasCustomPrompt="1"/>
          </p:nvPr>
        </p:nvSpPr>
        <p:spPr>
          <a:xfrm>
            <a:off x="611188" y="3124171"/>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8" name="Inhaltsplatzhalter 4"/>
          <p:cNvSpPr>
            <a:spLocks noGrp="1"/>
          </p:cNvSpPr>
          <p:nvPr>
            <p:ph sz="quarter" idx="17" hasCustomPrompt="1"/>
          </p:nvPr>
        </p:nvSpPr>
        <p:spPr>
          <a:xfrm>
            <a:off x="4577626" y="3124171"/>
            <a:ext cx="3960812" cy="1609241"/>
          </a:xfrm>
        </p:spPr>
        <p:txBody>
          <a:bodyPr/>
          <a:lstStyle>
            <a:lvl1pPr>
              <a:defRPr sz="1400"/>
            </a:lvl1pPr>
            <a:lvl2pPr>
              <a:defRPr sz="1400"/>
            </a:lvl2pPr>
            <a:lvl3pPr>
              <a:defRPr sz="1400"/>
            </a:lvl3pPr>
            <a:lvl4pPr>
              <a:defRPr sz="1400"/>
            </a:lvl4pPr>
            <a:lvl5pPr>
              <a:defRPr sz="1400"/>
            </a:lvl5p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9"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u contenu 2"/>
          <p:cNvSpPr>
            <a:spLocks noGrp="1"/>
          </p:cNvSpPr>
          <p:nvPr>
            <p:ph sz="half" idx="1" hasCustomPrompt="1"/>
          </p:nvPr>
        </p:nvSpPr>
        <p:spPr>
          <a:xfrm>
            <a:off x="611190" y="1370410"/>
            <a:ext cx="3881437" cy="3371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endParaRPr lang="fr-FR" smtClean="0"/>
          </a:p>
          <a:p>
            <a:pPr lvl="1"/>
            <a:r>
              <a:rPr lang="fr-FR" smtClean="0"/>
              <a:t>Deuxième niveau</a:t>
            </a:r>
            <a:endParaRPr lang="fr-FR" smtClean="0"/>
          </a:p>
          <a:p>
            <a:pPr lvl="2"/>
            <a:r>
              <a:rPr lang="fr-FR" smtClean="0"/>
              <a:t>Troisième niveau</a:t>
            </a:r>
            <a:endParaRPr lang="fr-FR" smtClean="0"/>
          </a:p>
          <a:p>
            <a:pPr lvl="3"/>
            <a:r>
              <a:rPr lang="fr-FR" smtClean="0"/>
              <a:t>Quatrième niveau</a:t>
            </a:r>
            <a:endParaRPr lang="fr-FR" smtClean="0"/>
          </a:p>
          <a:p>
            <a:pPr lvl="4"/>
            <a:r>
              <a:rPr lang="fr-FR" smtClean="0"/>
              <a:t>Cinquième niveau</a:t>
            </a:r>
            <a:endParaRPr lang="fr-FR"/>
          </a:p>
        </p:txBody>
      </p:sp>
      <p:sp>
        <p:nvSpPr>
          <p:cNvPr id="4" name="Espace réservé du contenu 3"/>
          <p:cNvSpPr>
            <a:spLocks noGrp="1"/>
          </p:cNvSpPr>
          <p:nvPr>
            <p:ph sz="half" idx="2" hasCustomPrompt="1"/>
          </p:nvPr>
        </p:nvSpPr>
        <p:spPr>
          <a:xfrm>
            <a:off x="4645028" y="1370410"/>
            <a:ext cx="3883025" cy="3371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endParaRPr lang="fr-FR" smtClean="0"/>
          </a:p>
          <a:p>
            <a:pPr lvl="1"/>
            <a:r>
              <a:rPr lang="fr-FR" smtClean="0"/>
              <a:t>Deuxième niveau</a:t>
            </a:r>
            <a:endParaRPr lang="fr-FR" smtClean="0"/>
          </a:p>
          <a:p>
            <a:pPr lvl="2"/>
            <a:r>
              <a:rPr lang="fr-FR" smtClean="0"/>
              <a:t>Troisième niveau</a:t>
            </a:r>
            <a:endParaRPr lang="fr-FR" smtClean="0"/>
          </a:p>
          <a:p>
            <a:pPr lvl="3"/>
            <a:r>
              <a:rPr lang="fr-FR" smtClean="0"/>
              <a:t>Quatrième niveau</a:t>
            </a:r>
            <a:endParaRPr lang="fr-FR" smtClean="0"/>
          </a:p>
          <a:p>
            <a:pPr lvl="4"/>
            <a:r>
              <a:rPr lang="fr-FR" smtClean="0"/>
              <a:t>Cinquième niveau</a:t>
            </a:r>
            <a:endParaRPr lang="fr-FR"/>
          </a:p>
        </p:txBody>
      </p:sp>
      <p:sp>
        <p:nvSpPr>
          <p:cNvPr id="5" name="Titel 4"/>
          <p:cNvSpPr>
            <a:spLocks noGrp="1"/>
          </p:cNvSpPr>
          <p:nvPr>
            <p:ph type="title"/>
          </p:nvPr>
        </p:nvSpPr>
        <p:spPr/>
        <p:txBody>
          <a:bodyPr/>
          <a:lstStyle/>
          <a:p>
            <a:r>
              <a:rPr lang="de-DE" smtClean="0"/>
              <a:t>Titelmasterformat durch Klicken bearbeiten</a:t>
            </a:r>
            <a:endParaRPr lang="en-US"/>
          </a:p>
        </p:txBody>
      </p:sp>
      <p:sp>
        <p:nvSpPr>
          <p:cNvPr id="6"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8" name="Bildplatzhalter 17"/>
          <p:cNvSpPr>
            <a:spLocks noGrp="1"/>
          </p:cNvSpPr>
          <p:nvPr>
            <p:ph type="pic" sz="quarter" idx="21"/>
          </p:nvPr>
        </p:nvSpPr>
        <p:spPr bwMode="gray">
          <a:xfrm>
            <a:off x="177290" y="179043"/>
            <a:ext cx="2199600" cy="4513609"/>
          </a:xfrm>
        </p:spPr>
        <p:txBody>
          <a:bodyPr tIns="1836000"/>
          <a:lstStyle>
            <a:lvl1pPr algn="ctr">
              <a:defRPr sz="1100"/>
            </a:lvl1pPr>
          </a:lstStyle>
          <a:p>
            <a:endParaRPr lang="en-US" noProof="0" dirty="0"/>
          </a:p>
        </p:txBody>
      </p:sp>
      <p:sp>
        <p:nvSpPr>
          <p:cNvPr id="58" name="Bildplatzhalter 17"/>
          <p:cNvSpPr>
            <a:spLocks noGrp="1"/>
          </p:cNvSpPr>
          <p:nvPr>
            <p:ph type="pic" sz="quarter" idx="26"/>
          </p:nvPr>
        </p:nvSpPr>
        <p:spPr bwMode="gray">
          <a:xfrm>
            <a:off x="2373897" y="179043"/>
            <a:ext cx="2199600" cy="4513609"/>
          </a:xfrm>
        </p:spPr>
        <p:txBody>
          <a:bodyPr tIns="1836000"/>
          <a:lstStyle>
            <a:lvl1pPr algn="ctr">
              <a:defRPr sz="1100"/>
            </a:lvl1pPr>
          </a:lstStyle>
          <a:p>
            <a:endParaRPr lang="en-US" noProof="0" dirty="0"/>
          </a:p>
        </p:txBody>
      </p:sp>
      <p:sp>
        <p:nvSpPr>
          <p:cNvPr id="59" name="Bildplatzhalter 17"/>
          <p:cNvSpPr>
            <a:spLocks noGrp="1"/>
          </p:cNvSpPr>
          <p:nvPr>
            <p:ph type="pic" sz="quarter" idx="27"/>
          </p:nvPr>
        </p:nvSpPr>
        <p:spPr bwMode="gray">
          <a:xfrm>
            <a:off x="4570504" y="179043"/>
            <a:ext cx="2199600" cy="4513609"/>
          </a:xfrm>
        </p:spPr>
        <p:txBody>
          <a:bodyPr tIns="1836000"/>
          <a:lstStyle>
            <a:lvl1pPr algn="ctr">
              <a:defRPr sz="1100"/>
            </a:lvl1pPr>
          </a:lstStyle>
          <a:p>
            <a:endParaRPr lang="en-US" noProof="0" dirty="0"/>
          </a:p>
        </p:txBody>
      </p:sp>
      <p:sp>
        <p:nvSpPr>
          <p:cNvPr id="60" name="Bildplatzhalter 17"/>
          <p:cNvSpPr>
            <a:spLocks noGrp="1"/>
          </p:cNvSpPr>
          <p:nvPr>
            <p:ph type="pic" sz="quarter" idx="28"/>
          </p:nvPr>
        </p:nvSpPr>
        <p:spPr bwMode="gray">
          <a:xfrm>
            <a:off x="6767110" y="179043"/>
            <a:ext cx="2199600" cy="4513609"/>
          </a:xfrm>
        </p:spPr>
        <p:txBody>
          <a:bodyPr tIns="1836000"/>
          <a:lstStyle>
            <a:lvl1pPr algn="ctr">
              <a:defRPr sz="1100"/>
            </a:lvl1pPr>
          </a:lstStyle>
          <a:p>
            <a:endParaRPr lang="en-US" noProof="0" dirty="0"/>
          </a:p>
        </p:txBody>
      </p:sp>
      <p:sp>
        <p:nvSpPr>
          <p:cNvPr id="4" name="Datumsplatzhalter 3"/>
          <p:cNvSpPr>
            <a:spLocks noGrp="1"/>
          </p:cNvSpPr>
          <p:nvPr>
            <p:ph type="dt" sz="half" idx="10"/>
          </p:nvPr>
        </p:nvSpPr>
        <p:spPr bwMode="gray">
          <a:xfrm>
            <a:off x="4489873" y="4756748"/>
            <a:ext cx="770467" cy="177799"/>
          </a:xfrm>
        </p:spPr>
        <p:txBody>
          <a:bodyPr/>
          <a:lstStyle>
            <a:lvl1pPr algn="r">
              <a:defRPr/>
            </a:lvl1pPr>
          </a:lstStyle>
          <a:p>
            <a:endParaRPr lang="en-US" dirty="0">
              <a:solidFill>
                <a:prstClr val="black"/>
              </a:solidFill>
            </a:endParaRPr>
          </a:p>
        </p:txBody>
      </p:sp>
      <p:sp>
        <p:nvSpPr>
          <p:cNvPr id="5" name="Fußzeilenplatzhalter 4"/>
          <p:cNvSpPr>
            <a:spLocks noGrp="1"/>
          </p:cNvSpPr>
          <p:nvPr>
            <p:ph type="ftr" sz="quarter" idx="11"/>
          </p:nvPr>
        </p:nvSpPr>
        <p:spPr bwMode="gray">
          <a:xfrm>
            <a:off x="460375" y="4756748"/>
            <a:ext cx="3962400" cy="177799"/>
          </a:xfrm>
        </p:spPr>
        <p:txBody>
          <a:bodyPr/>
          <a:lstStyle>
            <a:lvl1pPr algn="l">
              <a:defRPr/>
            </a:lvl1pPr>
          </a:lstStyle>
          <a:p>
            <a:endParaRPr lang="en-US" dirty="0"/>
          </a:p>
        </p:txBody>
      </p:sp>
      <p:sp>
        <p:nvSpPr>
          <p:cNvPr id="6" name="Foliennummernplatzhalter 5"/>
          <p:cNvSpPr>
            <a:spLocks noGrp="1"/>
          </p:cNvSpPr>
          <p:nvPr>
            <p:ph type="sldNum" sz="quarter" idx="12"/>
          </p:nvPr>
        </p:nvSpPr>
        <p:spPr bwMode="gray">
          <a:xfrm>
            <a:off x="8196623" y="4756748"/>
            <a:ext cx="468577" cy="177799"/>
          </a:xfrm>
        </p:spPr>
        <p:txBody>
          <a:bodyPr/>
          <a:lstStyle/>
          <a:p>
            <a:fld id="{8AD48C63-78A6-4D64-B839-4870EFEB9C13}" type="slidenum">
              <a:rPr lang="en-US" smtClean="0"/>
            </a:fld>
            <a:endParaRPr lang="en-US" dirty="0"/>
          </a:p>
        </p:txBody>
      </p:sp>
      <p:sp>
        <p:nvSpPr>
          <p:cNvPr id="2" name="Titel 1"/>
          <p:cNvSpPr>
            <a:spLocks noGrp="1"/>
          </p:cNvSpPr>
          <p:nvPr>
            <p:ph type="ctrTitle"/>
          </p:nvPr>
        </p:nvSpPr>
        <p:spPr bwMode="gray">
          <a:xfrm>
            <a:off x="460374" y="2209202"/>
            <a:ext cx="8204825" cy="301825"/>
          </a:xfrm>
        </p:spPr>
        <p:txBody>
          <a:bodyPr anchor="b"/>
          <a:lstStyle>
            <a:lvl1pPr algn="l">
              <a:defRPr sz="3400">
                <a:solidFill>
                  <a:schemeClr val="bg1"/>
                </a:solidFill>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Untertitel 2"/>
          <p:cNvSpPr>
            <a:spLocks noGrp="1"/>
          </p:cNvSpPr>
          <p:nvPr>
            <p:ph type="subTitle" idx="1"/>
          </p:nvPr>
        </p:nvSpPr>
        <p:spPr bwMode="gray">
          <a:xfrm>
            <a:off x="460374" y="2525316"/>
            <a:ext cx="8204825" cy="400765"/>
          </a:xfrm>
        </p:spPr>
        <p:txBody>
          <a:bodyPr/>
          <a:lstStyle>
            <a:lvl1pPr marL="0" indent="0" algn="l">
              <a:buNone/>
              <a:defRPr sz="3400" b="0" i="1">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grpSp>
        <p:nvGrpSpPr>
          <p:cNvPr id="53" name="Gruppieren 52"/>
          <p:cNvGrpSpPr/>
          <p:nvPr userDrawn="1"/>
        </p:nvGrpSpPr>
        <p:grpSpPr>
          <a:xfrm>
            <a:off x="9226379" y="0"/>
            <a:ext cx="1813096" cy="405000"/>
            <a:chOff x="9226379" y="0"/>
            <a:chExt cx="1813096" cy="405000"/>
          </a:xfrm>
        </p:grpSpPr>
        <p:sp>
          <p:nvSpPr>
            <p:cNvPr id="54" name="Rechteck 53"/>
            <p:cNvSpPr/>
            <p:nvPr/>
          </p:nvSpPr>
          <p:spPr bwMode="gray">
            <a:xfrm>
              <a:off x="9226379" y="0"/>
              <a:ext cx="1813096" cy="13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Symrise</a:t>
              </a:r>
              <a:r>
                <a:rPr lang="de-DE" sz="800" dirty="0" smtClean="0">
                  <a:solidFill>
                    <a:prstClr val="white"/>
                  </a:solidFill>
                </a:rPr>
                <a:t> </a:t>
              </a:r>
              <a:r>
                <a:rPr lang="de-DE" sz="800" dirty="0" err="1" smtClean="0">
                  <a:solidFill>
                    <a:prstClr val="white"/>
                  </a:solidFill>
                </a:rPr>
                <a:t>Red</a:t>
              </a:r>
              <a:r>
                <a:rPr lang="de-DE" sz="800" dirty="0" smtClean="0">
                  <a:solidFill>
                    <a:prstClr val="white"/>
                  </a:solidFill>
                </a:rPr>
                <a:t>	204 / 041 / 043</a:t>
              </a:r>
              <a:endParaRPr lang="de-DE" sz="800" dirty="0" smtClean="0">
                <a:solidFill>
                  <a:prstClr val="white"/>
                </a:solidFill>
              </a:endParaRPr>
            </a:p>
          </p:txBody>
        </p:sp>
        <p:sp>
          <p:nvSpPr>
            <p:cNvPr id="55" name="Rechteck 54"/>
            <p:cNvSpPr/>
            <p:nvPr/>
          </p:nvSpPr>
          <p:spPr bwMode="gray">
            <a:xfrm>
              <a:off x="9226379" y="135000"/>
              <a:ext cx="1813096" cy="135000"/>
            </a:xfrm>
            <a:prstGeom prst="rect">
              <a:avLst/>
            </a:prstGeom>
            <a:solidFill>
              <a:srgbClr val="9B1F1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48 / 030 / 024</a:t>
              </a:r>
              <a:endParaRPr lang="de-DE" sz="800" dirty="0" smtClean="0">
                <a:solidFill>
                  <a:prstClr val="white"/>
                </a:solidFill>
              </a:endParaRPr>
            </a:p>
          </p:txBody>
        </p:sp>
        <p:sp>
          <p:nvSpPr>
            <p:cNvPr id="56" name="Rechteck 55"/>
            <p:cNvSpPr/>
            <p:nvPr/>
          </p:nvSpPr>
          <p:spPr bwMode="gray">
            <a:xfrm>
              <a:off x="9226379" y="270000"/>
              <a:ext cx="1813096" cy="135000"/>
            </a:xfrm>
            <a:prstGeom prst="rect">
              <a:avLst/>
            </a:prstGeom>
            <a:solidFill>
              <a:srgbClr val="66141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102 / 020 / 016</a:t>
              </a:r>
              <a:endParaRPr lang="de-DE" sz="800" dirty="0" smtClean="0">
                <a:solidFill>
                  <a:prstClr val="white"/>
                </a:solidFill>
              </a:endParaRPr>
            </a:p>
          </p:txBody>
        </p:sp>
      </p:grpSp>
      <p:grpSp>
        <p:nvGrpSpPr>
          <p:cNvPr id="57" name="Gruppieren 56"/>
          <p:cNvGrpSpPr/>
          <p:nvPr userDrawn="1"/>
        </p:nvGrpSpPr>
        <p:grpSpPr>
          <a:xfrm>
            <a:off x="9226379" y="525407"/>
            <a:ext cx="1813096" cy="405000"/>
            <a:chOff x="9226379" y="525407"/>
            <a:chExt cx="1813096" cy="405000"/>
          </a:xfrm>
        </p:grpSpPr>
        <p:sp>
          <p:nvSpPr>
            <p:cNvPr id="61" name="Rechteck 60"/>
            <p:cNvSpPr/>
            <p:nvPr/>
          </p:nvSpPr>
          <p:spPr bwMode="gray">
            <a:xfrm>
              <a:off x="9226379" y="525407"/>
              <a:ext cx="1813096" cy="135000"/>
            </a:xfrm>
            <a:prstGeom prst="rect">
              <a:avLst/>
            </a:prstGeom>
            <a:solidFill>
              <a:srgbClr val="E796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Tutti Frutti	231 / 150 / 000</a:t>
              </a:r>
              <a:endParaRPr lang="de-DE" sz="800" dirty="0" smtClean="0">
                <a:solidFill>
                  <a:prstClr val="white"/>
                </a:solidFill>
              </a:endParaRPr>
            </a:p>
          </p:txBody>
        </p:sp>
        <p:sp>
          <p:nvSpPr>
            <p:cNvPr id="62" name="Rechteck 61"/>
            <p:cNvSpPr/>
            <p:nvPr/>
          </p:nvSpPr>
          <p:spPr bwMode="gray">
            <a:xfrm>
              <a:off x="9226379" y="660407"/>
              <a:ext cx="1813096" cy="135000"/>
            </a:xfrm>
            <a:prstGeom prst="rect">
              <a:avLst/>
            </a:prstGeom>
            <a:solidFill>
              <a:srgbClr val="CA6D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mittel	202 / 109 / 006</a:t>
              </a:r>
              <a:endParaRPr lang="de-DE" sz="800" dirty="0" smtClean="0">
                <a:solidFill>
                  <a:prstClr val="white"/>
                </a:solidFill>
              </a:endParaRPr>
            </a:p>
          </p:txBody>
        </p:sp>
        <p:sp>
          <p:nvSpPr>
            <p:cNvPr id="63" name="Rechteck 62"/>
            <p:cNvSpPr/>
            <p:nvPr/>
          </p:nvSpPr>
          <p:spPr bwMode="gray">
            <a:xfrm>
              <a:off x="9226379" y="795407"/>
              <a:ext cx="1813096" cy="135000"/>
            </a:xfrm>
            <a:prstGeom prst="rect">
              <a:avLst/>
            </a:prstGeom>
            <a:solidFill>
              <a:srgbClr val="AD570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dunkel	173 / 087 / 012</a:t>
              </a:r>
              <a:endParaRPr lang="de-DE" sz="800" dirty="0" smtClean="0">
                <a:solidFill>
                  <a:prstClr val="white"/>
                </a:solidFill>
              </a:endParaRPr>
            </a:p>
          </p:txBody>
        </p:sp>
      </p:grpSp>
      <p:grpSp>
        <p:nvGrpSpPr>
          <p:cNvPr id="64" name="Gruppieren 63"/>
          <p:cNvGrpSpPr/>
          <p:nvPr userDrawn="1"/>
        </p:nvGrpSpPr>
        <p:grpSpPr>
          <a:xfrm>
            <a:off x="9226379" y="1050815"/>
            <a:ext cx="1813096" cy="405000"/>
            <a:chOff x="9226379" y="1050815"/>
            <a:chExt cx="1813096" cy="405000"/>
          </a:xfrm>
        </p:grpSpPr>
        <p:sp>
          <p:nvSpPr>
            <p:cNvPr id="65" name="Rechteck 64"/>
            <p:cNvSpPr/>
            <p:nvPr/>
          </p:nvSpPr>
          <p:spPr bwMode="gray">
            <a:xfrm>
              <a:off x="9226379" y="1050815"/>
              <a:ext cx="1813096" cy="135000"/>
            </a:xfrm>
            <a:prstGeom prst="rect">
              <a:avLst/>
            </a:prstGeom>
            <a:solidFill>
              <a:srgbClr val="7DB73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pring </a:t>
              </a:r>
              <a:r>
                <a:rPr lang="de-DE" sz="800" dirty="0" err="1" smtClean="0">
                  <a:solidFill>
                    <a:prstClr val="white"/>
                  </a:solidFill>
                </a:rPr>
                <a:t>Fever</a:t>
              </a:r>
              <a:r>
                <a:rPr lang="de-DE" sz="800" dirty="0" smtClean="0">
                  <a:solidFill>
                    <a:prstClr val="white"/>
                  </a:solidFill>
                </a:rPr>
                <a:t>	125 / 183 / 059</a:t>
              </a:r>
              <a:endParaRPr lang="de-DE" sz="800" dirty="0" smtClean="0">
                <a:solidFill>
                  <a:prstClr val="white"/>
                </a:solidFill>
              </a:endParaRPr>
            </a:p>
          </p:txBody>
        </p:sp>
        <p:sp>
          <p:nvSpPr>
            <p:cNvPr id="66" name="Rechteck 65"/>
            <p:cNvSpPr/>
            <p:nvPr/>
          </p:nvSpPr>
          <p:spPr bwMode="gray">
            <a:xfrm>
              <a:off x="9226379" y="1185815"/>
              <a:ext cx="1813096" cy="135000"/>
            </a:xfrm>
            <a:prstGeom prst="rect">
              <a:avLst/>
            </a:prstGeom>
            <a:solidFill>
              <a:srgbClr val="5E8F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94 / 143 / 048</a:t>
              </a:r>
              <a:endParaRPr lang="de-DE" sz="800" dirty="0" smtClean="0">
                <a:solidFill>
                  <a:prstClr val="white"/>
                </a:solidFill>
              </a:endParaRPr>
            </a:p>
          </p:txBody>
        </p:sp>
        <p:sp>
          <p:nvSpPr>
            <p:cNvPr id="67" name="Rechteck 66"/>
            <p:cNvSpPr/>
            <p:nvPr/>
          </p:nvSpPr>
          <p:spPr bwMode="gray">
            <a:xfrm>
              <a:off x="9226379" y="1320815"/>
              <a:ext cx="1813096" cy="135000"/>
            </a:xfrm>
            <a:prstGeom prst="rect">
              <a:avLst/>
            </a:prstGeom>
            <a:solidFill>
              <a:srgbClr val="436B2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67 / 107 / 037</a:t>
              </a:r>
              <a:endParaRPr lang="de-DE" sz="800" dirty="0" smtClean="0">
                <a:solidFill>
                  <a:prstClr val="white"/>
                </a:solidFill>
              </a:endParaRPr>
            </a:p>
          </p:txBody>
        </p:sp>
      </p:grpSp>
      <p:grpSp>
        <p:nvGrpSpPr>
          <p:cNvPr id="68" name="Gruppieren 67"/>
          <p:cNvGrpSpPr/>
          <p:nvPr userDrawn="1"/>
        </p:nvGrpSpPr>
        <p:grpSpPr>
          <a:xfrm>
            <a:off x="9226379" y="1576222"/>
            <a:ext cx="1813096" cy="405000"/>
            <a:chOff x="9226379" y="1576222"/>
            <a:chExt cx="1813096" cy="405000"/>
          </a:xfrm>
        </p:grpSpPr>
        <p:sp>
          <p:nvSpPr>
            <p:cNvPr id="69" name="Rechteck 68"/>
            <p:cNvSpPr/>
            <p:nvPr/>
          </p:nvSpPr>
          <p:spPr bwMode="gray">
            <a:xfrm>
              <a:off x="9226379" y="1576222"/>
              <a:ext cx="1813096" cy="135000"/>
            </a:xfrm>
            <a:prstGeom prst="rect">
              <a:avLst/>
            </a:prstGeom>
            <a:solidFill>
              <a:srgbClr val="0068A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Deep</a:t>
              </a:r>
              <a:r>
                <a:rPr lang="de-DE" sz="800" dirty="0" smtClean="0">
                  <a:solidFill>
                    <a:prstClr val="white"/>
                  </a:solidFill>
                </a:rPr>
                <a:t> </a:t>
              </a:r>
              <a:r>
                <a:rPr lang="de-DE" sz="800" dirty="0" err="1" smtClean="0">
                  <a:solidFill>
                    <a:prstClr val="white"/>
                  </a:solidFill>
                </a:rPr>
                <a:t>Ocean</a:t>
              </a:r>
              <a:r>
                <a:rPr lang="de-DE" sz="800" dirty="0" smtClean="0">
                  <a:solidFill>
                    <a:prstClr val="white"/>
                  </a:solidFill>
                </a:rPr>
                <a:t>	000 / 104 / 162</a:t>
              </a:r>
              <a:endParaRPr lang="de-DE" sz="800" dirty="0" smtClean="0">
                <a:solidFill>
                  <a:prstClr val="white"/>
                </a:solidFill>
              </a:endParaRPr>
            </a:p>
          </p:txBody>
        </p:sp>
        <p:sp>
          <p:nvSpPr>
            <p:cNvPr id="70" name="Rechteck 69"/>
            <p:cNvSpPr/>
            <p:nvPr/>
          </p:nvSpPr>
          <p:spPr bwMode="gray">
            <a:xfrm>
              <a:off x="9226379" y="1711222"/>
              <a:ext cx="1813096" cy="135000"/>
            </a:xfrm>
            <a:prstGeom prst="rect">
              <a:avLst/>
            </a:prstGeom>
            <a:solidFill>
              <a:srgbClr val="00487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00 / 072 / 115</a:t>
              </a:r>
              <a:endParaRPr lang="de-DE" sz="800" dirty="0" smtClean="0">
                <a:solidFill>
                  <a:prstClr val="white"/>
                </a:solidFill>
              </a:endParaRPr>
            </a:p>
          </p:txBody>
        </p:sp>
        <p:sp>
          <p:nvSpPr>
            <p:cNvPr id="71" name="Rechteck 70"/>
            <p:cNvSpPr/>
            <p:nvPr/>
          </p:nvSpPr>
          <p:spPr bwMode="gray">
            <a:xfrm>
              <a:off x="9226379" y="1846222"/>
              <a:ext cx="1813096" cy="135000"/>
            </a:xfrm>
            <a:prstGeom prst="rect">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00 / 040 / 070</a:t>
              </a:r>
              <a:endParaRPr lang="de-DE" sz="800" dirty="0" smtClean="0">
                <a:solidFill>
                  <a:prstClr val="white"/>
                </a:solidFill>
              </a:endParaRPr>
            </a:p>
          </p:txBody>
        </p:sp>
      </p:grpSp>
      <p:grpSp>
        <p:nvGrpSpPr>
          <p:cNvPr id="72" name="Gruppieren 71"/>
          <p:cNvGrpSpPr/>
          <p:nvPr userDrawn="1"/>
        </p:nvGrpSpPr>
        <p:grpSpPr>
          <a:xfrm>
            <a:off x="9226379" y="2101629"/>
            <a:ext cx="1813096" cy="405000"/>
            <a:chOff x="9226379" y="2101629"/>
            <a:chExt cx="1813096" cy="405000"/>
          </a:xfrm>
        </p:grpSpPr>
        <p:sp>
          <p:nvSpPr>
            <p:cNvPr id="73" name="Rechteck 72"/>
            <p:cNvSpPr/>
            <p:nvPr/>
          </p:nvSpPr>
          <p:spPr bwMode="gray">
            <a:xfrm>
              <a:off x="9226379" y="2101629"/>
              <a:ext cx="1813096" cy="135000"/>
            </a:xfrm>
            <a:prstGeom prst="rect">
              <a:avLst/>
            </a:prstGeom>
            <a:solidFill>
              <a:srgbClr val="009D9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Aqua	000 / 157 / 147</a:t>
              </a:r>
              <a:endParaRPr lang="de-DE" sz="800" dirty="0" smtClean="0">
                <a:solidFill>
                  <a:prstClr val="white"/>
                </a:solidFill>
              </a:endParaRPr>
            </a:p>
          </p:txBody>
        </p:sp>
        <p:sp>
          <p:nvSpPr>
            <p:cNvPr id="74" name="Rechteck 73"/>
            <p:cNvSpPr/>
            <p:nvPr/>
          </p:nvSpPr>
          <p:spPr bwMode="gray">
            <a:xfrm>
              <a:off x="9226379" y="2236629"/>
              <a:ext cx="1813096" cy="135000"/>
            </a:xfrm>
            <a:prstGeom prst="rect">
              <a:avLst/>
            </a:prstGeom>
            <a:solidFill>
              <a:srgbClr val="0077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00 / 119 / 113</a:t>
              </a:r>
              <a:endParaRPr lang="de-DE" sz="800" dirty="0" smtClean="0">
                <a:solidFill>
                  <a:prstClr val="white"/>
                </a:solidFill>
              </a:endParaRPr>
            </a:p>
          </p:txBody>
        </p:sp>
        <p:sp>
          <p:nvSpPr>
            <p:cNvPr id="75" name="Rechteck 74"/>
            <p:cNvSpPr/>
            <p:nvPr/>
          </p:nvSpPr>
          <p:spPr bwMode="gray">
            <a:xfrm>
              <a:off x="9226379" y="2371629"/>
              <a:ext cx="1813096" cy="135000"/>
            </a:xfrm>
            <a:prstGeom prst="rect">
              <a:avLst/>
            </a:prstGeom>
            <a:solidFill>
              <a:srgbClr val="0059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00 / 089 / 085</a:t>
              </a:r>
              <a:endParaRPr lang="de-DE" sz="800" dirty="0" smtClean="0">
                <a:solidFill>
                  <a:prstClr val="white"/>
                </a:solidFill>
              </a:endParaRPr>
            </a:p>
          </p:txBody>
        </p:sp>
      </p:grpSp>
      <p:grpSp>
        <p:nvGrpSpPr>
          <p:cNvPr id="76" name="Gruppieren 75"/>
          <p:cNvGrpSpPr/>
          <p:nvPr userDrawn="1"/>
        </p:nvGrpSpPr>
        <p:grpSpPr>
          <a:xfrm>
            <a:off x="9226379" y="2627036"/>
            <a:ext cx="1813096" cy="405000"/>
            <a:chOff x="9226379" y="2627036"/>
            <a:chExt cx="1813096" cy="405000"/>
          </a:xfrm>
        </p:grpSpPr>
        <p:sp>
          <p:nvSpPr>
            <p:cNvPr id="77" name="Rechteck 76"/>
            <p:cNvSpPr/>
            <p:nvPr/>
          </p:nvSpPr>
          <p:spPr bwMode="gray">
            <a:xfrm>
              <a:off x="9226379" y="2627036"/>
              <a:ext cx="1813096" cy="135000"/>
            </a:xfrm>
            <a:prstGeom prst="rect">
              <a:avLst/>
            </a:prstGeom>
            <a:solidFill>
              <a:srgbClr val="9C0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ubble </a:t>
              </a:r>
              <a:r>
                <a:rPr lang="de-DE" sz="800" dirty="0" err="1" smtClean="0">
                  <a:solidFill>
                    <a:prstClr val="white"/>
                  </a:solidFill>
                </a:rPr>
                <a:t>Gum</a:t>
              </a:r>
              <a:r>
                <a:rPr lang="de-DE" sz="800" dirty="0" smtClean="0">
                  <a:solidFill>
                    <a:prstClr val="white"/>
                  </a:solidFill>
                </a:rPr>
                <a:t>	156 / 000 / 128</a:t>
              </a:r>
              <a:endParaRPr lang="de-DE" sz="800" dirty="0" smtClean="0">
                <a:solidFill>
                  <a:prstClr val="white"/>
                </a:solidFill>
              </a:endParaRPr>
            </a:p>
          </p:txBody>
        </p:sp>
        <p:sp>
          <p:nvSpPr>
            <p:cNvPr id="78" name="Rechteck 77"/>
            <p:cNvSpPr/>
            <p:nvPr/>
          </p:nvSpPr>
          <p:spPr bwMode="gray">
            <a:xfrm>
              <a:off x="9226379" y="2762036"/>
              <a:ext cx="1813096" cy="135000"/>
            </a:xfrm>
            <a:prstGeom prst="rect">
              <a:avLst/>
            </a:prstGeom>
            <a:solidFill>
              <a:srgbClr val="81005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40 K	129 / 000 / 089</a:t>
              </a:r>
              <a:endParaRPr lang="de-DE" sz="800" dirty="0" smtClean="0">
                <a:solidFill>
                  <a:prstClr val="white"/>
                </a:solidFill>
              </a:endParaRPr>
            </a:p>
          </p:txBody>
        </p:sp>
        <p:sp>
          <p:nvSpPr>
            <p:cNvPr id="79" name="Rechteck 78"/>
            <p:cNvSpPr/>
            <p:nvPr/>
          </p:nvSpPr>
          <p:spPr bwMode="gray">
            <a:xfrm>
              <a:off x="9226379" y="2897036"/>
              <a:ext cx="1813096" cy="135000"/>
            </a:xfrm>
            <a:prstGeom prst="rect">
              <a:avLst/>
            </a:prstGeom>
            <a:solidFill>
              <a:srgbClr val="5C003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65 K	092 / 000 / 062</a:t>
              </a:r>
              <a:endParaRPr lang="de-DE" sz="800" dirty="0" smtClean="0">
                <a:solidFill>
                  <a:prstClr val="white"/>
                </a:solidFill>
              </a:endParaRPr>
            </a:p>
          </p:txBody>
        </p:sp>
      </p:grpSp>
      <p:grpSp>
        <p:nvGrpSpPr>
          <p:cNvPr id="80" name="Gruppieren 79"/>
          <p:cNvGrpSpPr/>
          <p:nvPr userDrawn="1"/>
        </p:nvGrpSpPr>
        <p:grpSpPr>
          <a:xfrm>
            <a:off x="9226379" y="3167036"/>
            <a:ext cx="1813096" cy="405000"/>
            <a:chOff x="9226379" y="3152444"/>
            <a:chExt cx="1813096" cy="405000"/>
          </a:xfrm>
        </p:grpSpPr>
        <p:sp>
          <p:nvSpPr>
            <p:cNvPr id="81" name="Rechteck 80"/>
            <p:cNvSpPr/>
            <p:nvPr/>
          </p:nvSpPr>
          <p:spPr bwMode="gray">
            <a:xfrm>
              <a:off x="9226379" y="3152444"/>
              <a:ext cx="1813096" cy="135000"/>
            </a:xfrm>
            <a:prstGeom prst="rect">
              <a:avLst/>
            </a:prstGeom>
            <a:solidFill>
              <a:srgbClr val="CDA97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Caramel</a:t>
              </a:r>
              <a:r>
                <a:rPr lang="de-DE" sz="800" dirty="0" smtClean="0">
                  <a:solidFill>
                    <a:prstClr val="white"/>
                  </a:solidFill>
                </a:rPr>
                <a:t>	205 / 169 / 112</a:t>
              </a:r>
              <a:endParaRPr lang="de-DE" sz="800" dirty="0" smtClean="0">
                <a:solidFill>
                  <a:prstClr val="white"/>
                </a:solidFill>
              </a:endParaRPr>
            </a:p>
          </p:txBody>
        </p:sp>
        <p:sp>
          <p:nvSpPr>
            <p:cNvPr id="82" name="Rechteck 81"/>
            <p:cNvSpPr/>
            <p:nvPr/>
          </p:nvSpPr>
          <p:spPr bwMode="gray">
            <a:xfrm>
              <a:off x="9226379" y="3287444"/>
              <a:ext cx="1813096" cy="135000"/>
            </a:xfrm>
            <a:prstGeom prst="rect">
              <a:avLst/>
            </a:prstGeom>
            <a:solidFill>
              <a:srgbClr val="B5853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ttel	181 / 133 / 049</a:t>
              </a:r>
              <a:endParaRPr lang="de-DE" sz="800" dirty="0" smtClean="0">
                <a:solidFill>
                  <a:prstClr val="white"/>
                </a:solidFill>
              </a:endParaRPr>
            </a:p>
          </p:txBody>
        </p:sp>
        <p:sp>
          <p:nvSpPr>
            <p:cNvPr id="83" name="Rechteck 82"/>
            <p:cNvSpPr/>
            <p:nvPr/>
          </p:nvSpPr>
          <p:spPr bwMode="gray">
            <a:xfrm>
              <a:off x="9226379" y="3422444"/>
              <a:ext cx="1813096" cy="135000"/>
            </a:xfrm>
            <a:prstGeom prst="rect">
              <a:avLst/>
            </a:prstGeom>
            <a:solidFill>
              <a:srgbClr val="9D650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dunkel	157 / 101 / 010</a:t>
              </a:r>
              <a:endParaRPr lang="de-DE" sz="800" dirty="0" smtClean="0">
                <a:solidFill>
                  <a:prstClr val="white"/>
                </a:solidFill>
              </a:endParaRPr>
            </a:p>
          </p:txBody>
        </p:sp>
      </p:grpSp>
      <p:grpSp>
        <p:nvGrpSpPr>
          <p:cNvPr id="84" name="Gruppieren 83"/>
          <p:cNvGrpSpPr/>
          <p:nvPr userDrawn="1"/>
        </p:nvGrpSpPr>
        <p:grpSpPr>
          <a:xfrm>
            <a:off x="-2036706" y="0"/>
            <a:ext cx="1813096" cy="405000"/>
            <a:chOff x="-2036706" y="0"/>
            <a:chExt cx="1813096" cy="405000"/>
          </a:xfrm>
        </p:grpSpPr>
        <p:sp>
          <p:nvSpPr>
            <p:cNvPr id="85" name="Rechteck 84"/>
            <p:cNvSpPr/>
            <p:nvPr userDrawn="1"/>
          </p:nvSpPr>
          <p:spPr bwMode="gray">
            <a:xfrm>
              <a:off x="-2036706" y="0"/>
              <a:ext cx="1813096" cy="135000"/>
            </a:xfrm>
            <a:prstGeom prst="rect">
              <a:avLst/>
            </a:prstGeom>
            <a:solidFill>
              <a:srgbClr val="CBD21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Apple	203 / 210 / 023</a:t>
              </a:r>
              <a:endParaRPr lang="de-DE" sz="800" dirty="0" smtClean="0">
                <a:solidFill>
                  <a:prstClr val="white"/>
                </a:solidFill>
              </a:endParaRPr>
            </a:p>
          </p:txBody>
        </p:sp>
        <p:sp>
          <p:nvSpPr>
            <p:cNvPr id="86" name="Rechteck 85"/>
            <p:cNvSpPr/>
            <p:nvPr userDrawn="1"/>
          </p:nvSpPr>
          <p:spPr bwMode="gray">
            <a:xfrm>
              <a:off x="-2036706" y="135000"/>
              <a:ext cx="1813096" cy="135000"/>
            </a:xfrm>
            <a:prstGeom prst="rect">
              <a:avLst/>
            </a:prstGeom>
            <a:solidFill>
              <a:srgbClr val="9AA3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54 / 163 / 000</a:t>
              </a:r>
              <a:endParaRPr lang="de-DE" sz="800" dirty="0" smtClean="0">
                <a:solidFill>
                  <a:prstClr val="white"/>
                </a:solidFill>
              </a:endParaRPr>
            </a:p>
          </p:txBody>
        </p:sp>
        <p:sp>
          <p:nvSpPr>
            <p:cNvPr id="87" name="Rechteck 86"/>
            <p:cNvSpPr/>
            <p:nvPr userDrawn="1"/>
          </p:nvSpPr>
          <p:spPr bwMode="gray">
            <a:xfrm>
              <a:off x="-2036706" y="270000"/>
              <a:ext cx="1813096" cy="135000"/>
            </a:xfrm>
            <a:prstGeom prst="rect">
              <a:avLst/>
            </a:prstGeom>
            <a:solidFill>
              <a:srgbClr val="717A0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113 / 122 / 003</a:t>
              </a:r>
              <a:endParaRPr lang="de-DE" sz="800" dirty="0" smtClean="0">
                <a:solidFill>
                  <a:prstClr val="white"/>
                </a:solidFill>
              </a:endParaRPr>
            </a:p>
          </p:txBody>
        </p:sp>
      </p:grpSp>
      <p:grpSp>
        <p:nvGrpSpPr>
          <p:cNvPr id="88" name="Gruppieren 87"/>
          <p:cNvGrpSpPr/>
          <p:nvPr userDrawn="1"/>
        </p:nvGrpSpPr>
        <p:grpSpPr>
          <a:xfrm>
            <a:off x="-2036706" y="1878061"/>
            <a:ext cx="1813096" cy="405000"/>
            <a:chOff x="-2036706" y="2046122"/>
            <a:chExt cx="1813096" cy="405000"/>
          </a:xfrm>
        </p:grpSpPr>
        <p:sp>
          <p:nvSpPr>
            <p:cNvPr id="89" name="Rechteck 88"/>
            <p:cNvSpPr/>
            <p:nvPr userDrawn="1"/>
          </p:nvSpPr>
          <p:spPr bwMode="gray">
            <a:xfrm>
              <a:off x="-2036706" y="2046122"/>
              <a:ext cx="1813096" cy="135000"/>
            </a:xfrm>
            <a:prstGeom prst="rect">
              <a:avLst/>
            </a:prstGeom>
            <a:solidFill>
              <a:srgbClr val="8734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urgundy	135 / 052 / 075</a:t>
              </a:r>
              <a:endParaRPr lang="de-DE" sz="800" dirty="0" smtClean="0">
                <a:solidFill>
                  <a:prstClr val="white"/>
                </a:solidFill>
              </a:endParaRPr>
            </a:p>
          </p:txBody>
        </p:sp>
        <p:sp>
          <p:nvSpPr>
            <p:cNvPr id="90" name="Rechteck 89"/>
            <p:cNvSpPr/>
            <p:nvPr userDrawn="1"/>
          </p:nvSpPr>
          <p:spPr bwMode="gray">
            <a:xfrm>
              <a:off x="-2036706" y="2181122"/>
              <a:ext cx="1813096" cy="135000"/>
            </a:xfrm>
            <a:prstGeom prst="rect">
              <a:avLst/>
            </a:prstGeom>
            <a:solidFill>
              <a:srgbClr val="66273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102 / 039 / 057</a:t>
              </a:r>
              <a:endParaRPr lang="de-DE" sz="800" dirty="0" smtClean="0">
                <a:solidFill>
                  <a:prstClr val="white"/>
                </a:solidFill>
              </a:endParaRPr>
            </a:p>
          </p:txBody>
        </p:sp>
        <p:sp>
          <p:nvSpPr>
            <p:cNvPr id="91" name="Rechteck 90"/>
            <p:cNvSpPr/>
            <p:nvPr userDrawn="1"/>
          </p:nvSpPr>
          <p:spPr bwMode="gray">
            <a:xfrm>
              <a:off x="-2036706" y="2316122"/>
              <a:ext cx="1813096" cy="135000"/>
            </a:xfrm>
            <a:prstGeom prst="rect">
              <a:avLst/>
            </a:prstGeom>
            <a:solidFill>
              <a:srgbClr val="4E1C2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7</a:t>
              </a:r>
              <a:r>
                <a:rPr lang="de-DE" sz="800" dirty="0" smtClean="0">
                  <a:solidFill>
                    <a:srgbClr val="FFFFFF"/>
                  </a:solidFill>
                </a:rPr>
                <a:t>8</a:t>
              </a:r>
              <a:r>
                <a:rPr lang="de-DE" sz="800" dirty="0" smtClean="0">
                  <a:solidFill>
                    <a:prstClr val="white"/>
                  </a:solidFill>
                </a:rPr>
                <a:t> / 028 / 043</a:t>
              </a:r>
              <a:endParaRPr lang="de-DE" sz="800" dirty="0" smtClean="0">
                <a:solidFill>
                  <a:prstClr val="white"/>
                </a:solidFill>
              </a:endParaRPr>
            </a:p>
          </p:txBody>
        </p:sp>
      </p:grpSp>
      <p:grpSp>
        <p:nvGrpSpPr>
          <p:cNvPr id="92" name="Gruppieren 91"/>
          <p:cNvGrpSpPr/>
          <p:nvPr userDrawn="1"/>
        </p:nvGrpSpPr>
        <p:grpSpPr>
          <a:xfrm>
            <a:off x="-2036706" y="2418061"/>
            <a:ext cx="1813096" cy="675530"/>
            <a:chOff x="-2036706" y="2905935"/>
            <a:chExt cx="1813096" cy="675530"/>
          </a:xfrm>
        </p:grpSpPr>
        <p:sp>
          <p:nvSpPr>
            <p:cNvPr id="93" name="Rechteck 92"/>
            <p:cNvSpPr/>
            <p:nvPr userDrawn="1"/>
          </p:nvSpPr>
          <p:spPr bwMode="gray">
            <a:xfrm>
              <a:off x="-2036706" y="3176465"/>
              <a:ext cx="1813096" cy="135000"/>
            </a:xfrm>
            <a:prstGeom prst="rect">
              <a:avLst/>
            </a:prstGeom>
            <a:solidFill>
              <a:srgbClr val="A8A09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moke	168 / 160 / 158</a:t>
              </a:r>
              <a:endParaRPr lang="de-DE" sz="800" dirty="0" smtClean="0">
                <a:solidFill>
                  <a:prstClr val="white"/>
                </a:solidFill>
              </a:endParaRPr>
            </a:p>
          </p:txBody>
        </p:sp>
        <p:sp>
          <p:nvSpPr>
            <p:cNvPr id="94" name="Rechteck 93"/>
            <p:cNvSpPr/>
            <p:nvPr userDrawn="1"/>
          </p:nvSpPr>
          <p:spPr bwMode="gray">
            <a:xfrm>
              <a:off x="-2036706" y="3041465"/>
              <a:ext cx="1813096" cy="135000"/>
            </a:xfrm>
            <a:prstGeom prst="rect">
              <a:avLst/>
            </a:prstGeom>
            <a:solidFill>
              <a:srgbClr val="EEECE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Smoke hell	238 / 236 / 236</a:t>
              </a:r>
              <a:endParaRPr lang="de-DE" sz="800" dirty="0" smtClean="0">
                <a:solidFill>
                  <a:prstClr val="black"/>
                </a:solidFill>
              </a:endParaRPr>
            </a:p>
          </p:txBody>
        </p:sp>
        <p:sp>
          <p:nvSpPr>
            <p:cNvPr id="95" name="Rechteck 94"/>
            <p:cNvSpPr/>
            <p:nvPr userDrawn="1"/>
          </p:nvSpPr>
          <p:spPr bwMode="gray">
            <a:xfrm>
              <a:off x="-2036706" y="3311465"/>
              <a:ext cx="1813096" cy="135000"/>
            </a:xfrm>
            <a:prstGeom prst="rect">
              <a:avLst/>
            </a:prstGeom>
            <a:solidFill>
              <a:srgbClr val="7579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Dark Smoke	117 / 121 / 131</a:t>
              </a:r>
              <a:endParaRPr lang="de-DE" sz="800" dirty="0" smtClean="0">
                <a:solidFill>
                  <a:prstClr val="white"/>
                </a:solidFill>
              </a:endParaRPr>
            </a:p>
          </p:txBody>
        </p:sp>
        <p:sp>
          <p:nvSpPr>
            <p:cNvPr id="96" name="Rechteck 95"/>
            <p:cNvSpPr/>
            <p:nvPr userDrawn="1"/>
          </p:nvSpPr>
          <p:spPr bwMode="gray">
            <a:xfrm>
              <a:off x="-2036706" y="3446465"/>
              <a:ext cx="1813096" cy="135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dnight	000 / 000 / 000</a:t>
              </a:r>
              <a:endParaRPr lang="de-DE" sz="800" dirty="0" smtClean="0">
                <a:solidFill>
                  <a:prstClr val="white"/>
                </a:solidFill>
              </a:endParaRPr>
            </a:p>
          </p:txBody>
        </p:sp>
        <p:sp>
          <p:nvSpPr>
            <p:cNvPr id="97" name="Rechteck 96"/>
            <p:cNvSpPr/>
            <p:nvPr userDrawn="1"/>
          </p:nvSpPr>
          <p:spPr bwMode="gray">
            <a:xfrm>
              <a:off x="-2036706" y="2905935"/>
              <a:ext cx="1813096" cy="135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Snow	255 / 255 / 255</a:t>
              </a:r>
              <a:endParaRPr lang="de-DE" sz="800" dirty="0" smtClean="0">
                <a:solidFill>
                  <a:prstClr val="black"/>
                </a:solidFill>
              </a:endParaRPr>
            </a:p>
          </p:txBody>
        </p:sp>
      </p:grpSp>
      <p:grpSp>
        <p:nvGrpSpPr>
          <p:cNvPr id="98" name="Gruppieren 97"/>
          <p:cNvGrpSpPr/>
          <p:nvPr userDrawn="1"/>
        </p:nvGrpSpPr>
        <p:grpSpPr>
          <a:xfrm>
            <a:off x="-2036706" y="537114"/>
            <a:ext cx="1813096" cy="540000"/>
            <a:chOff x="-2036706" y="568207"/>
            <a:chExt cx="1813096" cy="540000"/>
          </a:xfrm>
        </p:grpSpPr>
        <p:sp>
          <p:nvSpPr>
            <p:cNvPr id="99" name="Rechteck 98"/>
            <p:cNvSpPr/>
            <p:nvPr userDrawn="1"/>
          </p:nvSpPr>
          <p:spPr bwMode="gray">
            <a:xfrm>
              <a:off x="-2036706" y="703207"/>
              <a:ext cx="1813096" cy="135000"/>
            </a:xfrm>
            <a:prstGeom prst="rect">
              <a:avLst/>
            </a:prstGeom>
            <a:solidFill>
              <a:srgbClr val="894B9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Purple</a:t>
              </a:r>
              <a:r>
                <a:rPr lang="de-DE" sz="800" dirty="0" smtClean="0">
                  <a:solidFill>
                    <a:prstClr val="white"/>
                  </a:solidFill>
                </a:rPr>
                <a:t> Rain	137 / 075 / 148</a:t>
              </a:r>
              <a:endParaRPr lang="de-DE" sz="800" dirty="0" smtClean="0">
                <a:solidFill>
                  <a:prstClr val="white"/>
                </a:solidFill>
              </a:endParaRPr>
            </a:p>
          </p:txBody>
        </p:sp>
        <p:sp>
          <p:nvSpPr>
            <p:cNvPr id="100" name="Rechteck 99"/>
            <p:cNvSpPr/>
            <p:nvPr userDrawn="1"/>
          </p:nvSpPr>
          <p:spPr bwMode="gray">
            <a:xfrm>
              <a:off x="-2036706" y="838207"/>
              <a:ext cx="1813096" cy="135000"/>
            </a:xfrm>
            <a:prstGeom prst="rect">
              <a:avLst/>
            </a:prstGeom>
            <a:solidFill>
              <a:srgbClr val="BDBA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Smooth </a:t>
              </a:r>
              <a:r>
                <a:rPr lang="de-DE" sz="800" dirty="0" err="1" smtClean="0">
                  <a:solidFill>
                    <a:prstClr val="white"/>
                  </a:solidFill>
                </a:rPr>
                <a:t>Syringa</a:t>
              </a:r>
              <a:r>
                <a:rPr lang="de-DE" sz="800" dirty="0" smtClean="0">
                  <a:solidFill>
                    <a:prstClr val="white"/>
                  </a:solidFill>
                </a:rPr>
                <a:t>	189 / 186 / 214</a:t>
              </a:r>
              <a:endParaRPr lang="de-DE" sz="800" dirty="0" smtClean="0">
                <a:solidFill>
                  <a:prstClr val="white"/>
                </a:solidFill>
              </a:endParaRPr>
            </a:p>
          </p:txBody>
        </p:sp>
        <p:sp>
          <p:nvSpPr>
            <p:cNvPr id="101" name="Rechteck 100"/>
            <p:cNvSpPr/>
            <p:nvPr userDrawn="1"/>
          </p:nvSpPr>
          <p:spPr bwMode="gray">
            <a:xfrm>
              <a:off x="-2036706" y="973207"/>
              <a:ext cx="1813096" cy="135000"/>
            </a:xfrm>
            <a:prstGeom prst="rect">
              <a:avLst/>
            </a:prstGeom>
            <a:solidFill>
              <a:srgbClr val="88CAB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nt	136 / 202 / 187</a:t>
              </a:r>
              <a:endParaRPr lang="de-DE" sz="800" dirty="0" smtClean="0">
                <a:solidFill>
                  <a:prstClr val="white"/>
                </a:solidFill>
              </a:endParaRPr>
            </a:p>
          </p:txBody>
        </p:sp>
        <p:sp>
          <p:nvSpPr>
            <p:cNvPr id="102" name="Rechteck 101"/>
            <p:cNvSpPr/>
            <p:nvPr userDrawn="1"/>
          </p:nvSpPr>
          <p:spPr bwMode="gray">
            <a:xfrm>
              <a:off x="-2036706" y="568207"/>
              <a:ext cx="1813096" cy="135000"/>
            </a:xfrm>
            <a:prstGeom prst="rect">
              <a:avLst/>
            </a:prstGeom>
            <a:solidFill>
              <a:srgbClr val="2E22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Monsoon</a:t>
              </a:r>
              <a:r>
                <a:rPr lang="de-DE" sz="800" dirty="0" smtClean="0">
                  <a:solidFill>
                    <a:prstClr val="white"/>
                  </a:solidFill>
                </a:rPr>
                <a:t> Mist	046 / 034 / 130</a:t>
              </a:r>
              <a:endParaRPr lang="de-DE" sz="800" dirty="0" smtClean="0">
                <a:solidFill>
                  <a:prstClr val="white"/>
                </a:solidFill>
              </a:endParaRPr>
            </a:p>
          </p:txBody>
        </p:sp>
      </p:grpSp>
      <p:grpSp>
        <p:nvGrpSpPr>
          <p:cNvPr id="103" name="Gruppieren 102"/>
          <p:cNvGrpSpPr/>
          <p:nvPr userDrawn="1"/>
        </p:nvGrpSpPr>
        <p:grpSpPr>
          <a:xfrm>
            <a:off x="-2036706" y="1212114"/>
            <a:ext cx="1813096" cy="530947"/>
            <a:chOff x="-2036706" y="1394768"/>
            <a:chExt cx="1813096" cy="530947"/>
          </a:xfrm>
        </p:grpSpPr>
        <p:sp>
          <p:nvSpPr>
            <p:cNvPr id="104" name="Rechteck 103"/>
            <p:cNvSpPr/>
            <p:nvPr userDrawn="1"/>
          </p:nvSpPr>
          <p:spPr bwMode="gray">
            <a:xfrm>
              <a:off x="-2036706" y="1520715"/>
              <a:ext cx="1813096" cy="135000"/>
            </a:xfrm>
            <a:prstGeom prst="rect">
              <a:avLst/>
            </a:prstGeom>
            <a:solidFill>
              <a:srgbClr val="6FB0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orning Sky	111 / 176 / 227</a:t>
              </a:r>
              <a:endParaRPr lang="de-DE" sz="800" dirty="0" smtClean="0">
                <a:solidFill>
                  <a:prstClr val="white"/>
                </a:solidFill>
              </a:endParaRPr>
            </a:p>
          </p:txBody>
        </p:sp>
        <p:sp>
          <p:nvSpPr>
            <p:cNvPr id="105" name="Rechteck 104"/>
            <p:cNvSpPr/>
            <p:nvPr userDrawn="1"/>
          </p:nvSpPr>
          <p:spPr bwMode="gray">
            <a:xfrm>
              <a:off x="-2036706" y="1655715"/>
              <a:ext cx="1813096" cy="135000"/>
            </a:xfrm>
            <a:prstGeom prst="rect">
              <a:avLst/>
            </a:prstGeom>
            <a:solidFill>
              <a:srgbClr val="2389B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30 K	035 / 137 / 176</a:t>
              </a:r>
              <a:endParaRPr lang="de-DE" sz="800" dirty="0" smtClean="0">
                <a:solidFill>
                  <a:prstClr val="white"/>
                </a:solidFill>
              </a:endParaRPr>
            </a:p>
          </p:txBody>
        </p:sp>
        <p:sp>
          <p:nvSpPr>
            <p:cNvPr id="106" name="Rechteck 105"/>
            <p:cNvSpPr/>
            <p:nvPr userDrawn="1"/>
          </p:nvSpPr>
          <p:spPr bwMode="gray">
            <a:xfrm>
              <a:off x="-2036706" y="1790715"/>
              <a:ext cx="1813096" cy="135000"/>
            </a:xfrm>
            <a:prstGeom prst="rect">
              <a:avLst/>
            </a:prstGeom>
            <a:solidFill>
              <a:srgbClr val="1465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 55 K	020 / 101 / 131</a:t>
              </a:r>
              <a:endParaRPr lang="de-DE" sz="800" dirty="0" smtClean="0">
                <a:solidFill>
                  <a:prstClr val="white"/>
                </a:solidFill>
              </a:endParaRPr>
            </a:p>
          </p:txBody>
        </p:sp>
        <p:sp>
          <p:nvSpPr>
            <p:cNvPr id="107" name="Rechteck 106"/>
            <p:cNvSpPr/>
            <p:nvPr userDrawn="1"/>
          </p:nvSpPr>
          <p:spPr bwMode="gray">
            <a:xfrm>
              <a:off x="-2036706" y="1394768"/>
              <a:ext cx="1813096" cy="135000"/>
            </a:xfrm>
            <a:prstGeom prst="rect">
              <a:avLst/>
            </a:prstGeom>
            <a:solidFill>
              <a:srgbClr val="99C4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Baby Blue	153 / 196 / 224</a:t>
              </a:r>
              <a:endParaRPr lang="de-DE" sz="800" dirty="0" smtClean="0">
                <a:solidFill>
                  <a:prstClr val="white"/>
                </a:solidFill>
              </a:endParaRPr>
            </a:p>
          </p:txBody>
        </p:sp>
      </p:grpSp>
      <p:grpSp>
        <p:nvGrpSpPr>
          <p:cNvPr id="108" name="Gruppieren 107"/>
          <p:cNvGrpSpPr/>
          <p:nvPr userDrawn="1"/>
        </p:nvGrpSpPr>
        <p:grpSpPr>
          <a:xfrm>
            <a:off x="-2036706" y="3228591"/>
            <a:ext cx="1813096" cy="405000"/>
            <a:chOff x="-2036706" y="3728279"/>
            <a:chExt cx="1813096" cy="405000"/>
          </a:xfrm>
        </p:grpSpPr>
        <p:sp>
          <p:nvSpPr>
            <p:cNvPr id="109" name="Rechteck 108"/>
            <p:cNvSpPr/>
            <p:nvPr userDrawn="1"/>
          </p:nvSpPr>
          <p:spPr bwMode="gray">
            <a:xfrm>
              <a:off x="-2036706" y="3998279"/>
              <a:ext cx="1813096" cy="135000"/>
            </a:xfrm>
            <a:prstGeom prst="rect">
              <a:avLst/>
            </a:prstGeom>
            <a:solidFill>
              <a:srgbClr val="E8B7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Zest</a:t>
              </a:r>
              <a:r>
                <a:rPr lang="de-DE" sz="800" dirty="0" smtClean="0">
                  <a:solidFill>
                    <a:prstClr val="white"/>
                  </a:solidFill>
                </a:rPr>
                <a:t>	232 / 183 / 048</a:t>
              </a:r>
              <a:endParaRPr lang="de-DE" sz="800" dirty="0" smtClean="0">
                <a:solidFill>
                  <a:prstClr val="white"/>
                </a:solidFill>
              </a:endParaRPr>
            </a:p>
          </p:txBody>
        </p:sp>
        <p:sp>
          <p:nvSpPr>
            <p:cNvPr id="110" name="Rechteck 109"/>
            <p:cNvSpPr/>
            <p:nvPr userDrawn="1"/>
          </p:nvSpPr>
          <p:spPr bwMode="gray">
            <a:xfrm>
              <a:off x="-2036706" y="3863279"/>
              <a:ext cx="1813096" cy="135000"/>
            </a:xfrm>
            <a:prstGeom prst="rect">
              <a:avLst/>
            </a:prstGeom>
            <a:solidFill>
              <a:srgbClr val="F8D93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Orange Squash	248 / 217 / 059</a:t>
              </a:r>
              <a:endParaRPr lang="de-DE" sz="800" dirty="0" smtClean="0">
                <a:solidFill>
                  <a:prstClr val="black"/>
                </a:solidFill>
              </a:endParaRPr>
            </a:p>
          </p:txBody>
        </p:sp>
        <p:sp>
          <p:nvSpPr>
            <p:cNvPr id="111" name="Rechteck 110"/>
            <p:cNvSpPr/>
            <p:nvPr userDrawn="1"/>
          </p:nvSpPr>
          <p:spPr bwMode="gray">
            <a:xfrm>
              <a:off x="-2036706" y="3728279"/>
              <a:ext cx="1813096" cy="135000"/>
            </a:xfrm>
            <a:prstGeom prst="rect">
              <a:avLst/>
            </a:prstGeom>
            <a:solidFill>
              <a:srgbClr val="FFE8A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black"/>
                  </a:solidFill>
                </a:rPr>
                <a:t>Vanilla</a:t>
              </a:r>
              <a:r>
                <a:rPr lang="de-DE" sz="800" dirty="0" smtClean="0">
                  <a:solidFill>
                    <a:prstClr val="black"/>
                  </a:solidFill>
                </a:rPr>
                <a:t> </a:t>
              </a:r>
              <a:r>
                <a:rPr lang="de-DE" sz="800" dirty="0" err="1" smtClean="0">
                  <a:solidFill>
                    <a:prstClr val="black"/>
                  </a:solidFill>
                </a:rPr>
                <a:t>Dream</a:t>
              </a:r>
              <a:r>
                <a:rPr lang="de-DE" sz="800" dirty="0" smtClean="0">
                  <a:solidFill>
                    <a:prstClr val="black"/>
                  </a:solidFill>
                </a:rPr>
                <a:t>	255 / 232 / 161</a:t>
              </a:r>
              <a:endParaRPr lang="de-DE" sz="800" dirty="0" smtClean="0">
                <a:solidFill>
                  <a:prstClr val="black"/>
                </a:solidFill>
              </a:endParaRPr>
            </a:p>
          </p:txBody>
        </p:sp>
      </p:grpSp>
      <p:grpSp>
        <p:nvGrpSpPr>
          <p:cNvPr id="112" name="Gruppieren 111"/>
          <p:cNvGrpSpPr/>
          <p:nvPr userDrawn="1"/>
        </p:nvGrpSpPr>
        <p:grpSpPr>
          <a:xfrm>
            <a:off x="9226379" y="3707036"/>
            <a:ext cx="1813096" cy="675225"/>
            <a:chOff x="9226379" y="3677852"/>
            <a:chExt cx="1813096" cy="675225"/>
          </a:xfrm>
        </p:grpSpPr>
        <p:sp>
          <p:nvSpPr>
            <p:cNvPr id="113" name="Rechteck 112"/>
            <p:cNvSpPr/>
            <p:nvPr/>
          </p:nvSpPr>
          <p:spPr bwMode="gray">
            <a:xfrm>
              <a:off x="9226379" y="4082852"/>
              <a:ext cx="1813096" cy="135000"/>
            </a:xfrm>
            <a:prstGeom prst="rect">
              <a:avLst/>
            </a:prstGeom>
            <a:solidFill>
              <a:srgbClr val="69302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Chocolate</a:t>
              </a:r>
              <a:r>
                <a:rPr lang="de-DE" sz="800" dirty="0" smtClean="0">
                  <a:solidFill>
                    <a:prstClr val="white"/>
                  </a:solidFill>
                </a:rPr>
                <a:t>	105 / 048 / 033</a:t>
              </a:r>
              <a:endParaRPr lang="de-DE" sz="800" dirty="0" smtClean="0">
                <a:solidFill>
                  <a:prstClr val="white"/>
                </a:solidFill>
              </a:endParaRPr>
            </a:p>
          </p:txBody>
        </p:sp>
        <p:sp>
          <p:nvSpPr>
            <p:cNvPr id="114" name="Rechteck 113"/>
            <p:cNvSpPr/>
            <p:nvPr/>
          </p:nvSpPr>
          <p:spPr bwMode="gray">
            <a:xfrm>
              <a:off x="9226379" y="3947852"/>
              <a:ext cx="1813096" cy="135000"/>
            </a:xfrm>
            <a:prstGeom prst="rect">
              <a:avLst/>
            </a:prstGeom>
            <a:solidFill>
              <a:srgbClr val="936A5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mittel	147 / 106 / 095</a:t>
              </a:r>
              <a:endParaRPr lang="de-DE" sz="800" dirty="0" smtClean="0">
                <a:solidFill>
                  <a:prstClr val="white"/>
                </a:solidFill>
              </a:endParaRPr>
            </a:p>
          </p:txBody>
        </p:sp>
        <p:sp>
          <p:nvSpPr>
            <p:cNvPr id="115" name="Rechteck 114"/>
            <p:cNvSpPr/>
            <p:nvPr/>
          </p:nvSpPr>
          <p:spPr bwMode="gray">
            <a:xfrm>
              <a:off x="9226379" y="3812852"/>
              <a:ext cx="1813096" cy="135000"/>
            </a:xfrm>
            <a:prstGeom prst="rect">
              <a:avLst/>
            </a:prstGeom>
            <a:solidFill>
              <a:srgbClr val="BCA29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white"/>
                  </a:solidFill>
                </a:rPr>
                <a:t>hell	188 / 162 / 156</a:t>
              </a:r>
              <a:endParaRPr lang="de-DE" sz="800" dirty="0" smtClean="0">
                <a:solidFill>
                  <a:prstClr val="white"/>
                </a:solidFill>
              </a:endParaRPr>
            </a:p>
          </p:txBody>
        </p:sp>
        <p:sp>
          <p:nvSpPr>
            <p:cNvPr id="116" name="Rechteck 115"/>
            <p:cNvSpPr/>
            <p:nvPr userDrawn="1"/>
          </p:nvSpPr>
          <p:spPr bwMode="gray">
            <a:xfrm>
              <a:off x="9226379" y="4218077"/>
              <a:ext cx="1813096" cy="135000"/>
            </a:xfrm>
            <a:prstGeom prst="rect">
              <a:avLst/>
            </a:prstGeom>
            <a:solidFill>
              <a:srgbClr val="522C1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err="1" smtClean="0">
                  <a:solidFill>
                    <a:prstClr val="white"/>
                  </a:solidFill>
                </a:rPr>
                <a:t>Delicious</a:t>
              </a:r>
              <a:r>
                <a:rPr lang="de-DE" sz="800" dirty="0" smtClean="0">
                  <a:solidFill>
                    <a:prstClr val="white"/>
                  </a:solidFill>
                </a:rPr>
                <a:t> Brown	082 / 044 / 027</a:t>
              </a:r>
              <a:endParaRPr lang="de-DE" sz="800" dirty="0" smtClean="0">
                <a:solidFill>
                  <a:prstClr val="white"/>
                </a:solidFill>
              </a:endParaRPr>
            </a:p>
          </p:txBody>
        </p:sp>
        <p:sp>
          <p:nvSpPr>
            <p:cNvPr id="117" name="Rechteck 116"/>
            <p:cNvSpPr/>
            <p:nvPr userDrawn="1"/>
          </p:nvSpPr>
          <p:spPr bwMode="gray">
            <a:xfrm>
              <a:off x="9226379" y="3677852"/>
              <a:ext cx="1813096" cy="135000"/>
            </a:xfrm>
            <a:prstGeom prst="rect">
              <a:avLst/>
            </a:prstGeom>
            <a:solidFill>
              <a:srgbClr val="E6D1C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eaLnBrk="0" fontAlgn="base" hangingPunct="0">
                <a:spcBef>
                  <a:spcPct val="0"/>
                </a:spcBef>
                <a:spcAft>
                  <a:spcPct val="0"/>
                </a:spcAft>
              </a:pPr>
              <a:r>
                <a:rPr lang="de-DE" sz="800" dirty="0" smtClean="0">
                  <a:solidFill>
                    <a:prstClr val="black"/>
                  </a:solidFill>
                </a:rPr>
                <a:t>Cream	230 / 209 / 202</a:t>
              </a:r>
              <a:endParaRPr lang="de-DE" sz="800" dirty="0" smtClean="0">
                <a:solidFill>
                  <a:prstClr val="black"/>
                </a:solidFill>
              </a:endParaRPr>
            </a:p>
          </p:txBody>
        </p:sp>
      </p:grpSp>
      <p:sp>
        <p:nvSpPr>
          <p:cNvPr id="118" name="Foliennummernplatzhalter 5"/>
          <p:cNvSpPr txBox="1"/>
          <p:nvPr userDrawn="1"/>
        </p:nvSpPr>
        <p:spPr>
          <a:xfrm>
            <a:off x="8110538" y="4692650"/>
            <a:ext cx="468312" cy="177800"/>
          </a:xfrm>
          <a:prstGeom prst="rect">
            <a:avLst/>
          </a:prstGeom>
        </p:spPr>
        <p:txBody>
          <a:bodyPr vert="horz" wrap="square" lIns="0" tIns="0" rIns="0" bIns="10800" numCol="1" anchor="b" anchorCtr="0" compatLnSpc="1">
            <a:noAutofit/>
          </a:bodyPr>
          <a:lstStyle>
            <a:defPPr>
              <a:defRPr lang="en-US"/>
            </a:defPPr>
            <a:lvl1pPr algn="r" rtl="0" eaLnBrk="1" fontAlgn="base" hangingPunct="1">
              <a:spcBef>
                <a:spcPct val="0"/>
              </a:spcBef>
              <a:spcAft>
                <a:spcPct val="0"/>
              </a:spcAft>
              <a:defRPr sz="800" kern="1200">
                <a:solidFill>
                  <a:srgbClr val="A8A09E"/>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fld id="{2E40362E-917C-4F61-AD60-F77268F07135}" type="slidenum">
              <a:rPr lang="de-DE" altLang="fr-FR" smtClean="0"/>
            </a:fld>
            <a:endParaRPr lang="de-DE" altLang="fr-FR"/>
          </a:p>
        </p:txBody>
      </p:sp>
      <p:pic>
        <p:nvPicPr>
          <p:cNvPr id="119" name="Image 118"/>
          <p:cNvPicPr>
            <a:picLocks noChangeAspect="1"/>
          </p:cNvPicPr>
          <p:nvPr userDrawn="1"/>
        </p:nvPicPr>
        <p:blipFill>
          <a:blip r:embed="rId2" cstate="print"/>
          <a:stretch>
            <a:fillRect/>
          </a:stretch>
        </p:blipFill>
        <p:spPr>
          <a:xfrm>
            <a:off x="7137837" y="339502"/>
            <a:ext cx="1442601" cy="432048"/>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4 Contents and 4 Pictures">
    <p:spTree>
      <p:nvGrpSpPr>
        <p:cNvPr id="1" name=""/>
        <p:cNvGrpSpPr/>
        <p:nvPr/>
      </p:nvGrpSpPr>
      <p:grpSpPr>
        <a:xfrm>
          <a:off x="0" y="0"/>
          <a:ext cx="0" cy="0"/>
          <a:chOff x="0" y="0"/>
          <a:chExt cx="0" cy="0"/>
        </a:xfrm>
      </p:grpSpPr>
      <p:sp>
        <p:nvSpPr>
          <p:cNvPr id="8" name="Snip and Round Single Corner Rectangle 7"/>
          <p:cNvSpPr/>
          <p:nvPr userDrawn="1"/>
        </p:nvSpPr>
        <p:spPr>
          <a:xfrm>
            <a:off x="474112" y="1429072"/>
            <a:ext cx="2048400" cy="3096000"/>
          </a:xfrm>
          <a:prstGeom prst="snipRoundRect">
            <a:avLst>
              <a:gd name="adj1" fmla="val 0"/>
              <a:gd name="adj2" fmla="val 6920"/>
            </a:avLst>
          </a:prstGeom>
          <a:solidFill>
            <a:srgbClr val="003A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50" name="Snip and Round Single Corner Rectangle 49"/>
          <p:cNvSpPr/>
          <p:nvPr userDrawn="1"/>
        </p:nvSpPr>
        <p:spPr>
          <a:xfrm flipH="1">
            <a:off x="6516216" y="1430186"/>
            <a:ext cx="2048400" cy="3096000"/>
          </a:xfrm>
          <a:prstGeom prst="snipRoundRect">
            <a:avLst>
              <a:gd name="adj1" fmla="val 0"/>
              <a:gd name="adj2" fmla="val 6920"/>
            </a:avLst>
          </a:prstGeom>
          <a:solidFill>
            <a:srgbClr val="9FC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9" name="Snip Same Side Corner Rectangle 8"/>
          <p:cNvSpPr/>
          <p:nvPr userDrawn="1"/>
        </p:nvSpPr>
        <p:spPr>
          <a:xfrm>
            <a:off x="2451592" y="1430194"/>
            <a:ext cx="2048400" cy="3096000"/>
          </a:xfrm>
          <a:prstGeom prst="snip2SameRect">
            <a:avLst>
              <a:gd name="adj1" fmla="val 6438"/>
              <a:gd name="adj2" fmla="val 0"/>
            </a:avLst>
          </a:prstGeom>
          <a:solidFill>
            <a:srgbClr val="007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51" name="Snip Same Side Corner Rectangle 50"/>
          <p:cNvSpPr/>
          <p:nvPr userDrawn="1"/>
        </p:nvSpPr>
        <p:spPr>
          <a:xfrm>
            <a:off x="4456559" y="1429146"/>
            <a:ext cx="2048400" cy="3096000"/>
          </a:xfrm>
          <a:prstGeom prst="snip2SameRect">
            <a:avLst>
              <a:gd name="adj1" fmla="val 6438"/>
              <a:gd name="adj2" fmla="val 0"/>
            </a:avLst>
          </a:prstGeom>
          <a:solidFill>
            <a:srgbClr val="88D5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endParaRPr>
          </a:p>
        </p:txBody>
      </p:sp>
      <p:sp>
        <p:nvSpPr>
          <p:cNvPr id="2"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Datumsplatzhalter 2"/>
          <p:cNvSpPr>
            <a:spLocks noGrp="1"/>
          </p:cNvSpPr>
          <p:nvPr>
            <p:ph type="dt" sz="half" idx="10"/>
          </p:nvPr>
        </p:nvSpPr>
        <p:spPr bwMode="gray">
          <a:xfrm>
            <a:off x="3651673" y="4755789"/>
            <a:ext cx="770467" cy="177799"/>
          </a:xfrm>
        </p:spPr>
        <p:txBody>
          <a:bodyPr/>
          <a:lstStyle/>
          <a:p>
            <a:endParaRPr lang="en-US" dirty="0">
              <a:solidFill>
                <a:prstClr val="black"/>
              </a:solidFill>
            </a:endParaRPr>
          </a:p>
        </p:txBody>
      </p:sp>
      <p:sp>
        <p:nvSpPr>
          <p:cNvPr id="5" name="Foliennummernplatzhalter 4"/>
          <p:cNvSpPr>
            <a:spLocks noGrp="1"/>
          </p:cNvSpPr>
          <p:nvPr>
            <p:ph type="sldNum" sz="quarter" idx="12"/>
          </p:nvPr>
        </p:nvSpPr>
        <p:spPr bwMode="gray">
          <a:xfrm>
            <a:off x="8196623" y="4755789"/>
            <a:ext cx="468577" cy="177799"/>
          </a:xfrm>
        </p:spPr>
        <p:txBody>
          <a:bodyPr/>
          <a:lstStyle/>
          <a:p>
            <a:fld id="{8AD48C63-78A6-4D64-B839-4870EFEB9C13}" type="slidenum">
              <a:rPr lang="en-US" smtClean="0"/>
            </a:fld>
            <a:endParaRPr lang="en-US" dirty="0"/>
          </a:p>
        </p:txBody>
      </p:sp>
      <p:sp>
        <p:nvSpPr>
          <p:cNvPr id="6" name="Untertitel 2"/>
          <p:cNvSpPr>
            <a:spLocks noGrp="1"/>
          </p:cNvSpPr>
          <p:nvPr>
            <p:ph type="subTitle" idx="1"/>
          </p:nvPr>
        </p:nvSpPr>
        <p:spPr bwMode="gray">
          <a:xfrm>
            <a:off x="457201" y="661242"/>
            <a:ext cx="5808133" cy="288000"/>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4" name="Textplatzhalter 7"/>
          <p:cNvSpPr>
            <a:spLocks noGrp="1"/>
          </p:cNvSpPr>
          <p:nvPr>
            <p:ph type="body" sz="quarter" idx="24" hasCustomPrompt="1"/>
          </p:nvPr>
        </p:nvSpPr>
        <p:spPr bwMode="gray">
          <a:xfrm>
            <a:off x="457954" y="1419558"/>
            <a:ext cx="2052000" cy="1511085"/>
          </a:xfrm>
          <a:noFill/>
        </p:spPr>
        <p:txBody>
          <a:bodyPr lIns="190800" tIns="180000" rIns="190800"/>
          <a:lstStyle>
            <a:lvl1pPr marL="0" indent="172720">
              <a:spcBef>
                <a:spcPts val="1200"/>
              </a:spcBef>
              <a:spcAft>
                <a:spcPts val="0"/>
              </a:spcAft>
              <a:buFontTx/>
              <a:buChar char="─"/>
              <a:defRPr sz="1200">
                <a:solidFill>
                  <a:schemeClr val="tx1"/>
                </a:solidFill>
              </a:defRPr>
            </a:lvl1pPr>
            <a:lvl2pPr marL="0" indent="0">
              <a:buFontTx/>
              <a:buNone/>
              <a:defRPr sz="1200" i="1">
                <a:solidFill>
                  <a:schemeClr val="tx1"/>
                </a:solidFill>
                <a:latin typeface="Times New Roman" panose="02020603050405020304" pitchFamily="18" charset="0"/>
                <a:cs typeface="Times New Roman" panose="02020603050405020304" pitchFamily="18" charset="0"/>
              </a:defRPr>
            </a:lvl2pPr>
            <a:lvl3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2075" indent="-9207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endParaRPr lang="en-US" dirty="0" smtClean="0"/>
          </a:p>
          <a:p>
            <a:pPr lvl="6"/>
            <a:r>
              <a:rPr lang="en-US" dirty="0" smtClean="0"/>
              <a:t>S</a:t>
            </a:r>
            <a:endParaRPr lang="en-US" dirty="0" smtClean="0"/>
          </a:p>
          <a:p>
            <a:pPr lvl="7"/>
            <a:r>
              <a:rPr lang="en-US" dirty="0" smtClean="0"/>
              <a:t>A</a:t>
            </a:r>
            <a:endParaRPr lang="en-US" dirty="0" smtClean="0"/>
          </a:p>
          <a:p>
            <a:pPr lvl="8"/>
            <a:r>
              <a:rPr lang="en-US" dirty="0" smtClean="0"/>
              <a:t>n</a:t>
            </a:r>
            <a:endParaRPr lang="en-US" dirty="0"/>
          </a:p>
        </p:txBody>
      </p:sp>
      <p:sp>
        <p:nvSpPr>
          <p:cNvPr id="42" name="Textplatzhalter 7"/>
          <p:cNvSpPr>
            <a:spLocks noGrp="1"/>
          </p:cNvSpPr>
          <p:nvPr>
            <p:ph type="body" sz="quarter" idx="26" hasCustomPrompt="1"/>
          </p:nvPr>
        </p:nvSpPr>
        <p:spPr bwMode="gray">
          <a:xfrm>
            <a:off x="2504200" y="1419558"/>
            <a:ext cx="2052000" cy="1511085"/>
          </a:xfrm>
          <a:noFill/>
        </p:spPr>
        <p:txBody>
          <a:bodyPr lIns="190800" tIns="180000" rIns="190800"/>
          <a:lstStyle>
            <a:lvl1pPr marL="0" indent="0">
              <a:spcBef>
                <a:spcPts val="1200"/>
              </a:spcBef>
              <a:spcAft>
                <a:spcPts val="1200"/>
              </a:spcAft>
              <a:buFontTx/>
              <a:buNone/>
              <a:defRPr sz="1200">
                <a:solidFill>
                  <a:schemeClr val="tx1"/>
                </a:solidFill>
              </a:defRPr>
            </a:lvl1pPr>
            <a:lvl2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2pPr>
            <a:lvl3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endParaRPr lang="en-US" dirty="0" smtClean="0"/>
          </a:p>
          <a:p>
            <a:pPr lvl="6"/>
            <a:r>
              <a:rPr lang="en-US" dirty="0" smtClean="0"/>
              <a:t>S</a:t>
            </a:r>
            <a:endParaRPr lang="en-US" dirty="0" smtClean="0"/>
          </a:p>
          <a:p>
            <a:pPr lvl="7"/>
            <a:r>
              <a:rPr lang="en-US" dirty="0" smtClean="0"/>
              <a:t>A</a:t>
            </a:r>
            <a:endParaRPr lang="en-US" dirty="0" smtClean="0"/>
          </a:p>
          <a:p>
            <a:pPr lvl="8"/>
            <a:r>
              <a:rPr lang="en-US" dirty="0" smtClean="0"/>
              <a:t>n</a:t>
            </a:r>
            <a:endParaRPr lang="en-US" dirty="0"/>
          </a:p>
        </p:txBody>
      </p:sp>
      <p:sp>
        <p:nvSpPr>
          <p:cNvPr id="48" name="Textplatzhalter 7"/>
          <p:cNvSpPr>
            <a:spLocks noGrp="1"/>
          </p:cNvSpPr>
          <p:nvPr>
            <p:ph type="body" sz="quarter" idx="30" hasCustomPrompt="1"/>
          </p:nvPr>
        </p:nvSpPr>
        <p:spPr bwMode="gray">
          <a:xfrm>
            <a:off x="6876256" y="1419552"/>
            <a:ext cx="1791494" cy="1514315"/>
          </a:xfrm>
          <a:noFill/>
        </p:spPr>
        <p:txBody>
          <a:bodyPr lIns="190800" tIns="180000" rIns="190800"/>
          <a:lstStyle>
            <a:lvl1pPr marL="0" indent="-171450">
              <a:spcBef>
                <a:spcPts val="1200"/>
              </a:spcBef>
              <a:spcAft>
                <a:spcPts val="0"/>
              </a:spcAft>
              <a:buFontTx/>
              <a:buChar char="─"/>
              <a:defRPr sz="1200">
                <a:solidFill>
                  <a:schemeClr val="tx1"/>
                </a:solidFill>
              </a:defRPr>
            </a:lvl1pPr>
            <a:lvl2pPr marL="0" indent="0">
              <a:buFontTx/>
              <a:buNone/>
              <a:defRPr sz="1200" i="1">
                <a:solidFill>
                  <a:schemeClr val="tx1"/>
                </a:solidFill>
                <a:latin typeface="Times New Roman" panose="02020603050405020304" pitchFamily="18" charset="0"/>
                <a:cs typeface="Times New Roman" panose="02020603050405020304" pitchFamily="18" charset="0"/>
              </a:defRPr>
            </a:lvl2pPr>
            <a:lvl3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3pPr>
            <a:lvl4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4pPr>
            <a:lvl5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5pPr>
            <a:lvl6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6pPr>
            <a:lvl7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7pPr>
            <a:lvl8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8pPr>
            <a:lvl9pPr marL="93345" indent="-93345">
              <a:buSzPct val="80000"/>
              <a:buFont typeface="Times New Roman" panose="02020603050405020304" pitchFamily="18" charset="0"/>
              <a:buChar char="▪"/>
              <a:defRPr sz="1200" i="1">
                <a:solidFill>
                  <a:schemeClr val="tx1"/>
                </a:solidFill>
                <a:latin typeface="Times New Roman" panose="02020603050405020304" pitchFamily="18" charset="0"/>
                <a:cs typeface="Times New Roman" panose="02020603050405020304" pitchFamily="18" charset="0"/>
              </a:defRPr>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a:p>
            <a:pPr lvl="5"/>
            <a:r>
              <a:rPr lang="en-US" dirty="0" smtClean="0"/>
              <a:t>S</a:t>
            </a:r>
            <a:endParaRPr lang="en-US" dirty="0" smtClean="0"/>
          </a:p>
          <a:p>
            <a:pPr lvl="6"/>
            <a:r>
              <a:rPr lang="en-US" dirty="0" smtClean="0"/>
              <a:t>S</a:t>
            </a:r>
            <a:endParaRPr lang="en-US" dirty="0" smtClean="0"/>
          </a:p>
          <a:p>
            <a:pPr lvl="7"/>
            <a:r>
              <a:rPr lang="en-US" dirty="0" smtClean="0"/>
              <a:t>A</a:t>
            </a:r>
            <a:endParaRPr lang="en-US" dirty="0" smtClean="0"/>
          </a:p>
          <a:p>
            <a:pPr lvl="8"/>
            <a:r>
              <a:rPr lang="en-US" dirty="0" smtClean="0"/>
              <a:t>n</a:t>
            </a:r>
            <a:endParaRPr lang="en-US" dirty="0"/>
          </a:p>
        </p:txBody>
      </p:sp>
      <p:grpSp>
        <p:nvGrpSpPr>
          <p:cNvPr id="22" name="Gruppieren 21"/>
          <p:cNvGrpSpPr/>
          <p:nvPr userDrawn="1"/>
        </p:nvGrpSpPr>
        <p:grpSpPr bwMode="gray">
          <a:xfrm rot="5400000">
            <a:off x="840093" y="2872291"/>
            <a:ext cx="3257025" cy="174340"/>
            <a:chOff x="379469" y="2303004"/>
            <a:chExt cx="3100629" cy="144000"/>
          </a:xfrm>
        </p:grpSpPr>
        <p:cxnSp>
          <p:nvCxnSpPr>
            <p:cNvPr id="23" name="Gerade Verbindung 22"/>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pPr>
              <a:endParaRPr lang="en-US" dirty="0">
                <a:solidFill>
                  <a:prstClr val="white"/>
                </a:solidFill>
              </a:endParaRPr>
            </a:p>
          </p:txBody>
        </p:sp>
      </p:grpSp>
      <p:grpSp>
        <p:nvGrpSpPr>
          <p:cNvPr id="25" name="Gruppieren 24"/>
          <p:cNvGrpSpPr/>
          <p:nvPr userDrawn="1"/>
        </p:nvGrpSpPr>
        <p:grpSpPr bwMode="gray">
          <a:xfrm rot="5400000">
            <a:off x="2845567" y="2880591"/>
            <a:ext cx="3240426" cy="174340"/>
            <a:chOff x="379469" y="2303004"/>
            <a:chExt cx="3100629" cy="144000"/>
          </a:xfrm>
        </p:grpSpPr>
        <p:cxnSp>
          <p:nvCxnSpPr>
            <p:cNvPr id="26" name="Gerade Verbindung 25"/>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Rechteck 26"/>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pPr>
              <a:endParaRPr lang="en-US" dirty="0">
                <a:solidFill>
                  <a:prstClr val="white"/>
                </a:solidFill>
              </a:endParaRPr>
            </a:p>
          </p:txBody>
        </p:sp>
      </p:grpSp>
      <p:grpSp>
        <p:nvGrpSpPr>
          <p:cNvPr id="28" name="Gruppieren 27"/>
          <p:cNvGrpSpPr/>
          <p:nvPr userDrawn="1"/>
        </p:nvGrpSpPr>
        <p:grpSpPr bwMode="gray">
          <a:xfrm rot="5400000">
            <a:off x="4858553" y="2916596"/>
            <a:ext cx="3312434" cy="174340"/>
            <a:chOff x="379469" y="2303004"/>
            <a:chExt cx="3100629" cy="144000"/>
          </a:xfrm>
        </p:grpSpPr>
        <p:cxnSp>
          <p:nvCxnSpPr>
            <p:cNvPr id="29" name="Gerade Verbindung 28"/>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pPr>
              <a:endParaRPr lang="en-US" dirty="0">
                <a:solidFill>
                  <a:prstClr val="white"/>
                </a:solidFill>
              </a:endParaRPr>
            </a:p>
          </p:txBody>
        </p:sp>
      </p:grpSp>
      <p:sp>
        <p:nvSpPr>
          <p:cNvPr id="40" name="Fußzeilenplatzhalter 4"/>
          <p:cNvSpPr>
            <a:spLocks noGrp="1"/>
          </p:cNvSpPr>
          <p:nvPr>
            <p:ph type="ftr" sz="quarter" idx="3"/>
          </p:nvPr>
        </p:nvSpPr>
        <p:spPr bwMode="gray">
          <a:xfrm>
            <a:off x="4526280" y="4755789"/>
            <a:ext cx="2957990" cy="177799"/>
          </a:xfrm>
          <a:prstGeom prst="rect">
            <a:avLst/>
          </a:prstGeom>
        </p:spPr>
        <p:txBody>
          <a:bodyPr vert="horz" lIns="0" tIns="0" rIns="0" bIns="10800" rtlCol="0" anchor="b">
            <a:noAutofit/>
          </a:bodyPr>
          <a:lstStyle>
            <a:lvl1pPr algn="r">
              <a:defRPr lang="de-DE" sz="800" dirty="0">
                <a:solidFill>
                  <a:schemeClr val="tx2"/>
                </a:solidFill>
              </a:defRPr>
            </a:lvl1pPr>
          </a:lstStyle>
          <a:p>
            <a:endParaRPr lang="en-US">
              <a:solidFill>
                <a:srgbClr val="CDA970"/>
              </a:solidFill>
            </a:endParaRPr>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fr-FR" dirty="0"/>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MS PGothic" panose="020B0600070205080204" pitchFamily="34" charset="-128"/>
              </a:defRPr>
            </a:lvl1pPr>
          </a:lstStyle>
          <a:p>
            <a:r>
              <a:rPr lang="fr-FR" dirty="0"/>
              <a:t>Modifiez le style du titre</a:t>
            </a:r>
            <a:endParaRPr 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fld>
            <a:endParaRPr lang="de-DE" altLang="fr-FR"/>
          </a:p>
        </p:txBody>
      </p:sp>
      <p:sp>
        <p:nvSpPr>
          <p:cNvPr id="2" name="Titre 1"/>
          <p:cNvSpPr>
            <a:spLocks noGrp="1"/>
          </p:cNvSpPr>
          <p:nvPr>
            <p:ph type="title"/>
          </p:nvPr>
        </p:nvSpPr>
        <p:spPr>
          <a:xfrm>
            <a:off x="4954132" y="2730292"/>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MS PGothic" panose="020B0600070205080204" pitchFamily="34" charset="-128"/>
              </a:defRPr>
            </a:lvl1pPr>
          </a:lstStyle>
          <a:p>
            <a:r>
              <a:rPr lang="fr-FR" dirty="0"/>
              <a:t>Modifiez le style du titre</a:t>
            </a:r>
            <a:endParaRPr 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8" name="Textplatzhalter 7"/>
          <p:cNvSpPr>
            <a:spLocks noGrp="1"/>
          </p:cNvSpPr>
          <p:nvPr>
            <p:ph type="body" sz="quarter" idx="21" hasCustomPrompt="1"/>
          </p:nvPr>
        </p:nvSpPr>
        <p:spPr>
          <a:xfrm>
            <a:off x="457200" y="1416845"/>
            <a:ext cx="8121650" cy="2932510"/>
          </a:xfrm>
        </p:spPr>
        <p:txBody>
          <a:bodyPr/>
          <a:lstStyle/>
          <a:p>
            <a:pPr lvl="0"/>
            <a:r>
              <a:rPr lang="de-DE" smtClean="0"/>
              <a:t>Textmasterformat bearbeiten</a:t>
            </a:r>
            <a:endParaRPr lang="de-DE" smtClean="0"/>
          </a:p>
          <a:p>
            <a:pPr lvl="1"/>
            <a:r>
              <a:rPr lang="de-DE" smtClean="0"/>
              <a:t>Zweite Ebene</a:t>
            </a:r>
            <a:endParaRPr lang="de-DE" smtClean="0"/>
          </a:p>
          <a:p>
            <a:pPr lvl="2"/>
            <a:r>
              <a:rPr lang="de-DE" smtClean="0"/>
              <a:t>Dritte Ebene</a:t>
            </a:r>
            <a:endParaRPr lang="de-DE" smtClean="0"/>
          </a:p>
          <a:p>
            <a:pPr lvl="3"/>
            <a:r>
              <a:rPr lang="de-DE" smtClean="0"/>
              <a:t>Vierte Ebene</a:t>
            </a:r>
            <a:endParaRPr lang="de-DE" smtClean="0"/>
          </a:p>
          <a:p>
            <a:pPr lvl="4"/>
            <a:r>
              <a:rPr lang="de-DE" smtClean="0"/>
              <a:t>Fünfte Ebene</a:t>
            </a:r>
            <a:endParaRPr lang="de-DE"/>
          </a:p>
        </p:txBody>
      </p:sp>
      <p:sp>
        <p:nvSpPr>
          <p:cNvPr id="15" name="Datumsplatzhalter 3"/>
          <p:cNvSpPr>
            <a:spLocks noGrp="1"/>
          </p:cNvSpPr>
          <p:nvPr>
            <p:ph type="dt" sz="half" idx="25"/>
          </p:nvPr>
        </p:nvSpPr>
        <p:spPr/>
        <p:txBody>
          <a:bodyPr/>
          <a:lstStyle>
            <a:lvl1pPr>
              <a:defRPr/>
            </a:lvl1pPr>
          </a:lstStyle>
          <a:p>
            <a:endParaRPr lang="de-DE" altLang="fr-FR">
              <a:solidFill>
                <a:prstClr val="black"/>
              </a:solidFill>
            </a:endParaRPr>
          </a:p>
        </p:txBody>
      </p:sp>
      <p:sp>
        <p:nvSpPr>
          <p:cNvPr id="16" name="Fußzeilenplatzhalter 4"/>
          <p:cNvSpPr>
            <a:spLocks noGrp="1"/>
          </p:cNvSpPr>
          <p:nvPr>
            <p:ph type="ftr" sz="quarter" idx="26"/>
          </p:nvPr>
        </p:nvSpPr>
        <p:spPr/>
        <p:txBody>
          <a:bodyPr/>
          <a:lstStyle>
            <a:lvl1pPr>
              <a:defRPr/>
            </a:lvl1pPr>
          </a:lstStyle>
          <a:p>
            <a:endParaRPr lang="de-DE" altLang="fr-FR"/>
          </a:p>
        </p:txBody>
      </p:sp>
      <p:sp>
        <p:nvSpPr>
          <p:cNvPr id="20" name="Foliennummernplatzhalter 5"/>
          <p:cNvSpPr>
            <a:spLocks noGrp="1"/>
          </p:cNvSpPr>
          <p:nvPr>
            <p:ph type="sldNum" sz="quarter" idx="27"/>
          </p:nvPr>
        </p:nvSpPr>
        <p:spPr/>
        <p:txBody>
          <a:bodyPr/>
          <a:lstStyle>
            <a:lvl1pPr>
              <a:defRPr/>
            </a:lvl1pPr>
          </a:lstStyle>
          <a:p>
            <a:fld id="{2E40362E-917C-4F61-AD60-F77268F07135}" type="slidenum">
              <a:rPr lang="de-DE" altLang="fr-FR"/>
            </a:fld>
            <a:endParaRPr lang="de-DE" altLang="fr-FR"/>
          </a:p>
        </p:txBody>
      </p:sp>
    </p:spTree>
  </p:cSld>
  <p:clrMapOvr>
    <a:masterClrMapping/>
  </p:clrMapOvr>
  <p:transition>
    <p:zoom/>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fld>
            <a:endParaRPr lang="de-DE" altLang="fr-FR" dirty="0"/>
          </a:p>
        </p:txBody>
      </p:sp>
    </p:spTree>
  </p:cSld>
  <p:clrMapOvr>
    <a:masterClrMapping/>
  </p:clrMapOvr>
  <p:transition>
    <p:zoom/>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fld>
            <a:endParaRPr lang="de-DE" altLang="fr-FR" dirty="0"/>
          </a:p>
        </p:txBody>
      </p:sp>
    </p:spTree>
  </p:cSld>
  <p:clrMapOvr>
    <a:masterClrMapping/>
  </p:clrMapOvr>
  <p:transition>
    <p:zoom/>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hasCustomPrompt="1"/>
          </p:nvPr>
        </p:nvSpPr>
        <p:spPr/>
        <p:txBody>
          <a:bodyPr/>
          <a:lstStyle/>
          <a:p>
            <a:pPr lvl="0"/>
            <a:r>
              <a:rPr lang="de-DE" smtClean="0"/>
              <a:t>Textmasterformat bearbeiten</a:t>
            </a:r>
            <a:endParaRPr lang="de-DE" smtClean="0"/>
          </a:p>
          <a:p>
            <a:pPr lvl="1"/>
            <a:r>
              <a:rPr lang="de-DE" smtClean="0"/>
              <a:t>Zweite Ebene</a:t>
            </a:r>
            <a:endParaRPr lang="de-DE" smtClean="0"/>
          </a:p>
          <a:p>
            <a:pPr lvl="2"/>
            <a:r>
              <a:rPr lang="de-DE" smtClean="0"/>
              <a:t>Dritte Ebene</a:t>
            </a:r>
            <a:endParaRPr lang="de-DE" smtClean="0"/>
          </a:p>
          <a:p>
            <a:pPr lvl="3"/>
            <a:r>
              <a:rPr lang="de-DE" smtClean="0"/>
              <a:t>Vierte Ebene</a:t>
            </a:r>
            <a:endParaRPr lang="de-DE" smtClean="0"/>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p:transition>
    <p:zoom/>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fr-FR" dirty="0"/>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MS PGothic" panose="020B0600070205080204" pitchFamily="34" charset="-128"/>
              </a:defRPr>
            </a:lvl1pPr>
          </a:lstStyle>
          <a:p>
            <a:r>
              <a:rPr lang="fr-FR" dirty="0"/>
              <a:t>Modifiez le style du titre</a:t>
            </a:r>
            <a:endParaRPr 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2" name="Espace réservé du numéro de diapositive 5"/>
          <p:cNvSpPr>
            <a:spLocks noGrp="1"/>
          </p:cNvSpPr>
          <p:nvPr>
            <p:ph type="sldNum" sz="quarter" idx="10"/>
          </p:nvPr>
        </p:nvSpPr>
        <p:spPr>
          <a:xfrm>
            <a:off x="6900863" y="4711700"/>
            <a:ext cx="2057400" cy="273050"/>
          </a:xfrm>
          <a:prstGeom prst="rect">
            <a:avLst/>
          </a:prstGeom>
        </p:spPr>
        <p:txBody>
          <a:bodyPr vert="horz" lIns="68580" tIns="34290" rIns="68580" bIns="34290" rtlCol="0" anchor="ctr"/>
          <a:lstStyle>
            <a:lvl1pPr algn="r" defTabSz="914400" fontAlgn="auto">
              <a:spcBef>
                <a:spcPts val="0"/>
              </a:spcBef>
              <a:spcAft>
                <a:spcPts val="0"/>
              </a:spcAft>
              <a:defRPr sz="900">
                <a:solidFill>
                  <a:prstClr val="black"/>
                </a:solidFill>
                <a:latin typeface="Arial" panose="020B0604020202020204"/>
                <a:cs typeface="Arial" panose="020B0604020202020204"/>
              </a:defRPr>
            </a:lvl1pPr>
          </a:lstStyle>
          <a:p>
            <a:pPr>
              <a:defRPr/>
            </a:pPr>
            <a:fld id="{9FAFCEB4-50DF-41A7-82D9-EE3D77AABA92}" type="slidenum">
              <a:rPr lang="fr-FR"/>
            </a:fld>
            <a:endParaRPr lang="fr-FR"/>
          </a:p>
        </p:txBody>
      </p:sp>
      <p:sp>
        <p:nvSpPr>
          <p:cNvPr id="3" name="Titel 1"/>
          <p:cNvSpPr>
            <a:spLocks noGrp="1"/>
          </p:cNvSpPr>
          <p:nvPr>
            <p:ph type="title"/>
          </p:nvPr>
        </p:nvSpPr>
        <p:spPr>
          <a:xfrm>
            <a:off x="457200" y="488950"/>
            <a:ext cx="5808663" cy="166688"/>
          </a:xfrm>
        </p:spPr>
        <p:txBody>
          <a:bodyPr/>
          <a:lstStyle/>
          <a:p>
            <a:r>
              <a:rPr lang="de-DE" dirty="0" smtClean="0"/>
              <a:t>Titelmasterformat durch Klicken bearbeiten</a:t>
            </a:r>
            <a:endParaRPr lang="de-DE" dirty="0"/>
          </a:p>
        </p:txBody>
      </p:sp>
      <p:sp>
        <p:nvSpPr>
          <p:cNvPr id="4"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Tree>
  </p:cSld>
  <p:clrMapOvr>
    <a:masterClrMapping/>
  </p:clrMapOvr>
  <p:transition>
    <p:zoom/>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userDrawn="1">
            <p:ph type="dt" sz="half" idx="10"/>
          </p:nvPr>
        </p:nvSpPr>
        <p:spPr/>
        <p:txBody>
          <a:bodyPr/>
          <a:lstStyle/>
          <a:p>
            <a:endParaRPr lang="de-DE" altLang="fr-FR">
              <a:solidFill>
                <a:prstClr val="black"/>
              </a:solidFill>
            </a:endParaRPr>
          </a:p>
        </p:txBody>
      </p:sp>
      <p:sp>
        <p:nvSpPr>
          <p:cNvPr id="4" name="Espace réservé du pied de page 3"/>
          <p:cNvSpPr>
            <a:spLocks noGrp="1"/>
          </p:cNvSpPr>
          <p:nvPr userDrawn="1">
            <p:ph type="ftr" sz="quarter" idx="11"/>
          </p:nvPr>
        </p:nvSpPr>
        <p:spPr/>
        <p:txBody>
          <a:bodyPr/>
          <a:lstStyle/>
          <a:p>
            <a:endParaRPr lang="de-DE" altLang="fr-FR"/>
          </a:p>
        </p:txBody>
      </p:sp>
      <p:sp>
        <p:nvSpPr>
          <p:cNvPr id="5" name="Espace réservé du numéro de diapositive 4"/>
          <p:cNvSpPr>
            <a:spLocks noGrp="1"/>
          </p:cNvSpPr>
          <p:nvPr userDrawn="1">
            <p:ph type="sldNum" sz="quarter" idx="12"/>
          </p:nvPr>
        </p:nvSpPr>
        <p:spPr/>
        <p:txBody>
          <a:bodyPr/>
          <a:lstStyle/>
          <a:p>
            <a:fld id="{3B8617A0-974F-4611-AF26-CDAF10A0513F}" type="slidenum">
              <a:rPr lang="de-DE" altLang="fr-FR" smtClean="0"/>
            </a:fld>
            <a:endParaRPr lang="de-DE" altLang="fr-FR"/>
          </a:p>
        </p:txBody>
      </p:sp>
      <p:sp>
        <p:nvSpPr>
          <p:cNvPr id="2" name="Titre 1"/>
          <p:cNvSpPr>
            <a:spLocks noGrp="1"/>
          </p:cNvSpPr>
          <p:nvPr userDrawn="1">
            <p:ph type="title"/>
          </p:nvPr>
        </p:nvSpPr>
        <p:spPr>
          <a:xfrm>
            <a:off x="1089490" y="1933520"/>
            <a:ext cx="6938498" cy="311560"/>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MS PGothic" panose="020B0600070205080204" pitchFamily="34" charset="-128"/>
              </a:defRPr>
            </a:lvl1pPr>
          </a:lstStyle>
          <a:p>
            <a:r>
              <a:rPr lang="fr-FR" dirty="0"/>
              <a:t>Modifiez le style du titre</a:t>
            </a:r>
            <a:endParaRPr lang="fr-FR" dirty="0"/>
          </a:p>
        </p:txBody>
      </p:sp>
      <p:sp>
        <p:nvSpPr>
          <p:cNvPr id="22" name="Espace réservé du texte 19"/>
          <p:cNvSpPr>
            <a:spLocks noGrp="1"/>
          </p:cNvSpPr>
          <p:nvPr>
            <p:ph type="body" sz="quarter" idx="14"/>
          </p:nvPr>
        </p:nvSpPr>
        <p:spPr>
          <a:xfrm>
            <a:off x="971600" y="3507156"/>
            <a:ext cx="7150496" cy="504754"/>
          </a:xfrm>
          <a:prstGeom prst="rect">
            <a:avLst/>
          </a:prstGeom>
        </p:spPr>
        <p:txBody>
          <a:bodyPr/>
          <a:lstStyle>
            <a:lvl1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1pPr>
            <a:lvl2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2pPr>
            <a:lvl3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3pPr>
            <a:lvl4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smtClean="0">
                <a:solidFill>
                  <a:schemeClr val="tx1">
                    <a:lumMod val="50000"/>
                    <a:lumOff val="50000"/>
                  </a:schemeClr>
                </a:solidFill>
                <a:latin typeface="Arial" panose="020B0604020202020204" pitchFamily="34" charset="0"/>
                <a:ea typeface="MS PGothic" panose="020B0600070205080204" pitchFamily="34" charset="-128"/>
                <a:cs typeface="+mn-cs"/>
              </a:defRPr>
            </a:lvl4pPr>
            <a:lvl5pPr marL="0" indent="0" algn="just" rtl="0" eaLnBrk="1" fontAlgn="base" hangingPunct="1">
              <a:spcBef>
                <a:spcPct val="0"/>
              </a:spcBef>
              <a:spcAft>
                <a:spcPct val="20000"/>
              </a:spcAft>
              <a:buClr>
                <a:srgbClr val="E8B730"/>
              </a:buClr>
              <a:buSzPct val="110000"/>
              <a:buFont typeface="Arial" panose="020B0604020202020204" pitchFamily="34" charset="0"/>
              <a:buNone/>
              <a:defRPr lang="fr-FR" sz="900" b="1" kern="1200" dirty="0">
                <a:solidFill>
                  <a:schemeClr val="tx1">
                    <a:lumMod val="50000"/>
                    <a:lumOff val="50000"/>
                  </a:schemeClr>
                </a:solidFill>
                <a:latin typeface="Arial" panose="020B0604020202020204" pitchFamily="34" charset="0"/>
                <a:ea typeface="MS PGothic" panose="020B0600070205080204" pitchFamily="34" charset="-128"/>
                <a:cs typeface="+mn-cs"/>
              </a:defRPr>
            </a:lvl5pPr>
          </a:lstStyle>
          <a:p>
            <a:pPr lvl="0"/>
            <a:r>
              <a:rPr lang="fr-FR" dirty="0"/>
              <a:t>Modifier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ld rechts">
    <p:spTree>
      <p:nvGrpSpPr>
        <p:cNvPr id="1" name=""/>
        <p:cNvGrpSpPr/>
        <p:nvPr/>
      </p:nvGrpSpPr>
      <p:grpSpPr>
        <a:xfrm>
          <a:off x="0" y="0"/>
          <a:ext cx="0" cy="0"/>
          <a:chOff x="0" y="0"/>
          <a:chExt cx="0" cy="0"/>
        </a:xfrm>
      </p:grpSpPr>
      <p:sp>
        <p:nvSpPr>
          <p:cNvPr id="18" name="Bildplatzhalter 17"/>
          <p:cNvSpPr>
            <a:spLocks noGrp="1"/>
          </p:cNvSpPr>
          <p:nvPr>
            <p:ph type="pic" sz="quarter" idx="14" hasCustomPrompt="1"/>
          </p:nvPr>
        </p:nvSpPr>
        <p:spPr>
          <a:xfrm>
            <a:off x="5964238"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sp>
        <p:nvSpPr>
          <p:cNvPr id="5" name="Foliennummernplatzhalter 4"/>
          <p:cNvSpPr>
            <a:spLocks noGrp="1"/>
          </p:cNvSpPr>
          <p:nvPr>
            <p:ph type="sldNum" sz="quarter" idx="12"/>
          </p:nvPr>
        </p:nvSpPr>
        <p:spPr/>
        <p:txBody>
          <a:bodyPr/>
          <a:lstStyle/>
          <a:p>
            <a:fld id="{8AD48C63-78A6-4D64-B839-4870EFEB9C13}" type="slidenum">
              <a:rPr lang="en-US" smtClean="0"/>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Inhaltsplatzhalter 10"/>
          <p:cNvSpPr>
            <a:spLocks noGrp="1"/>
          </p:cNvSpPr>
          <p:nvPr>
            <p:ph sz="quarter" idx="13" hasCustomPrompt="1"/>
          </p:nvPr>
        </p:nvSpPr>
        <p:spPr>
          <a:xfrm>
            <a:off x="453687" y="1422400"/>
            <a:ext cx="5483789" cy="3025775"/>
          </a:xfrm>
          <a:prstGeom prst="rect">
            <a:avLst/>
          </a:prstGeom>
        </p:spPr>
        <p:txBody>
          <a:bodyPr lIns="190800" tIns="180000" rIns="190800"/>
          <a:lstStyle>
            <a:lvl1pPr marL="176530" indent="-176530">
              <a:buFont typeface="Symbol" panose="05050102010706020507" pitchFamily="18" charset="2"/>
              <a:buChar char="-"/>
              <a:defRPr b="0" i="1">
                <a:latin typeface="Times New Roman" panose="02020603050405020304" pitchFamily="18" charset="0"/>
                <a:cs typeface="Times New Roman" panose="02020603050405020304" pitchFamily="18" charset="0"/>
              </a:defRPr>
            </a:lvl1pPr>
          </a:lstStyle>
          <a:p>
            <a:pPr lvl="0"/>
            <a:r>
              <a:rPr lang="de-DE" dirty="0" smtClean="0"/>
              <a:t>Textmasterformat bearbeiten</a:t>
            </a:r>
            <a:endParaRPr lang="de-DE" dirty="0" smtClean="0"/>
          </a:p>
        </p:txBody>
      </p:sp>
    </p:spTree>
  </p:cSld>
  <p:clrMapOvr>
    <a:masterClrMapping/>
  </p:clrMapOvr>
  <p:transition>
    <p:zoom/>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87B5AF3-EE88-445E-87A0-BF86EDC22283}" type="datetime1">
              <a:rPr lang="en-US" smtClean="0">
                <a:solidFill>
                  <a:prstClr val="black"/>
                </a:solidFill>
              </a:rPr>
            </a:fld>
            <a:endParaRPr lang="en-US" dirty="0">
              <a:solidFill>
                <a:prstClr val="black"/>
              </a:solidFill>
            </a:endParaRPr>
          </a:p>
        </p:txBody>
      </p:sp>
      <p:sp>
        <p:nvSpPr>
          <p:cNvPr id="4" name="Fußzeilenplatzhalter 3"/>
          <p:cNvSpPr>
            <a:spLocks noGrp="1"/>
          </p:cNvSpPr>
          <p:nvPr>
            <p:ph type="ftr" sz="quarter" idx="11"/>
          </p:nvPr>
        </p:nvSpPr>
        <p:spPr/>
        <p:txBody>
          <a:bodyPr/>
          <a:lstStyle/>
          <a:p>
            <a:r>
              <a:rPr lang="en-US" smtClean="0"/>
              <a:t>First name last name, date</a:t>
            </a:r>
            <a:endParaRPr lang="en-US"/>
          </a:p>
        </p:txBody>
      </p:sp>
      <p:sp>
        <p:nvSpPr>
          <p:cNvPr id="5" name="Foliennummernplatzhalter 4"/>
          <p:cNvSpPr>
            <a:spLocks noGrp="1"/>
          </p:cNvSpPr>
          <p:nvPr>
            <p:ph type="sldNum" sz="quarter" idx="12"/>
          </p:nvPr>
        </p:nvSpPr>
        <p:spPr/>
        <p:txBody>
          <a:bodyPr/>
          <a:lstStyle/>
          <a:p>
            <a:fld id="{8AD48C63-78A6-4D64-B839-4870EFEB9C13}" type="slidenum">
              <a:rPr lang="en-US" smtClean="0"/>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Inhaltsplatzhalter 10"/>
          <p:cNvSpPr>
            <a:spLocks noGrp="1"/>
          </p:cNvSpPr>
          <p:nvPr>
            <p:ph sz="quarter" idx="13" hasCustomPrompt="1"/>
          </p:nvPr>
        </p:nvSpPr>
        <p:spPr>
          <a:xfrm>
            <a:off x="3172281" y="1422400"/>
            <a:ext cx="5429852" cy="3025775"/>
          </a:xfrm>
          <a:prstGeom prst="rect">
            <a:avLst/>
          </a:prstGeom>
        </p:spPr>
        <p:txBody>
          <a:bodyPr lIns="190800" tIns="180000" rIns="190800"/>
          <a:lstStyle>
            <a:lvl1pPr marL="176530" indent="-176530">
              <a:buFont typeface="Symbol" panose="05050102010706020507" pitchFamily="18" charset="2"/>
              <a:buChar char="-"/>
              <a:defRPr b="0" i="1">
                <a:latin typeface="Times New Roman" panose="02020603050405020304" pitchFamily="18" charset="0"/>
                <a:cs typeface="Times New Roman" panose="02020603050405020304" pitchFamily="18" charset="0"/>
              </a:defRPr>
            </a:lvl1pPr>
          </a:lstStyle>
          <a:p>
            <a:pPr lvl="0"/>
            <a:r>
              <a:rPr lang="de-DE" dirty="0" smtClean="0"/>
              <a:t>Textmasterformat bearbeiten</a:t>
            </a:r>
            <a:endParaRPr lang="de-DE" dirty="0" smtClean="0"/>
          </a:p>
        </p:txBody>
      </p:sp>
      <p:sp>
        <p:nvSpPr>
          <p:cNvPr id="10" name="Bildplatzhalter 17"/>
          <p:cNvSpPr>
            <a:spLocks noGrp="1"/>
          </p:cNvSpPr>
          <p:nvPr>
            <p:ph type="pic" sz="quarter" idx="14" hasCustomPrompt="1"/>
          </p:nvPr>
        </p:nvSpPr>
        <p:spPr>
          <a:xfrm>
            <a:off x="446617"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grpSp>
        <p:nvGrpSpPr>
          <p:cNvPr id="11" name="Gruppieren 10"/>
          <p:cNvGrpSpPr/>
          <p:nvPr userDrawn="1"/>
        </p:nvGrpSpPr>
        <p:grpSpPr bwMode="gray">
          <a:xfrm rot="5400000">
            <a:off x="1603027" y="2825862"/>
            <a:ext cx="3100629" cy="144000"/>
            <a:chOff x="379469" y="2303004"/>
            <a:chExt cx="3100629" cy="144000"/>
          </a:xfrm>
        </p:grpSpPr>
        <p:cxnSp>
          <p:nvCxnSpPr>
            <p:cNvPr id="12" name="Gerade Verbindung 11"/>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solidFill>
                  <a:prstClr val="white"/>
                </a:solidFill>
              </a:endParaRPr>
            </a:p>
          </p:txBody>
        </p:sp>
      </p:grpSp>
    </p:spTree>
  </p:cSld>
  <p:clrMapOvr>
    <a:masterClrMapping/>
  </p:clrMapOvr>
  <p:transition>
    <p:zoom/>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8AD48C63-78A6-4D64-B839-4870EFEB9C13}" type="slidenum">
              <a:rPr lang="en-US" smtClean="0"/>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2"/>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Bildplatzhalter 10"/>
          <p:cNvSpPr>
            <a:spLocks noGrp="1"/>
          </p:cNvSpPr>
          <p:nvPr>
            <p:ph type="pic" sz="quarter" idx="14" hasCustomPrompt="1"/>
          </p:nvPr>
        </p:nvSpPr>
        <p:spPr>
          <a:xfrm>
            <a:off x="457200" y="3081485"/>
            <a:ext cx="8210550" cy="1366690"/>
          </a:xfrm>
          <a:prstGeom prst="rect">
            <a:avLst/>
          </a:prstGeom>
        </p:spPr>
        <p:txBody>
          <a:bodyPr/>
          <a:lstStyle>
            <a:lvl1pPr algn="ctr">
              <a:defRPr/>
            </a:lvl1pPr>
          </a:lstStyle>
          <a:p>
            <a:endParaRPr lang="en-US" dirty="0" smtClean="0"/>
          </a:p>
          <a:p>
            <a:endParaRPr lang="en-US" dirty="0" smtClean="0"/>
          </a:p>
          <a:p>
            <a:endParaRPr lang="en-US" dirty="0" smtClean="0"/>
          </a:p>
        </p:txBody>
      </p:sp>
      <p:sp>
        <p:nvSpPr>
          <p:cNvPr id="17" name="Textplatzhalter 16"/>
          <p:cNvSpPr>
            <a:spLocks noGrp="1"/>
          </p:cNvSpPr>
          <p:nvPr>
            <p:ph type="body" sz="quarter" idx="15" hasCustomPrompt="1"/>
          </p:nvPr>
        </p:nvSpPr>
        <p:spPr>
          <a:xfrm>
            <a:off x="450850" y="1422400"/>
            <a:ext cx="8216900" cy="1676400"/>
          </a:xfrm>
          <a:prstGeom prst="rect">
            <a:avLst/>
          </a:prstGeom>
        </p:spPr>
        <p:txBody>
          <a:bodyPr lIns="190800" tIns="180000" rIns="190800"/>
          <a:lstStyle>
            <a:lvl1pPr marL="176530" indent="-176530">
              <a:buFont typeface="Symbol" panose="05050102010706020507" pitchFamily="18" charset="2"/>
              <a:buChar char="-"/>
              <a:defRPr b="0" i="1">
                <a:latin typeface="Times New Roman" panose="02020603050405020304" pitchFamily="18" charset="0"/>
                <a:cs typeface="Times New Roman" panose="02020603050405020304" pitchFamily="18" charset="0"/>
              </a:defRPr>
            </a:lvl1pPr>
          </a:lstStyle>
          <a:p>
            <a:pPr lvl="0"/>
            <a:r>
              <a:rPr lang="de-DE" dirty="0" smtClean="0"/>
              <a:t>Textmasterformat bearbeiten</a:t>
            </a:r>
            <a:endParaRPr lang="de-DE" dirty="0" smtClean="0"/>
          </a:p>
        </p:txBody>
      </p:sp>
      <p:grpSp>
        <p:nvGrpSpPr>
          <p:cNvPr id="13" name="Gruppieren 12"/>
          <p:cNvGrpSpPr/>
          <p:nvPr userDrawn="1"/>
        </p:nvGrpSpPr>
        <p:grpSpPr bwMode="gray">
          <a:xfrm>
            <a:off x="379469" y="3026539"/>
            <a:ext cx="8285730" cy="144000"/>
            <a:chOff x="379469" y="2303004"/>
            <a:chExt cx="8285730" cy="144000"/>
          </a:xfrm>
        </p:grpSpPr>
        <p:cxnSp>
          <p:nvCxnSpPr>
            <p:cNvPr id="14" name="Gerade Verbindung 13"/>
            <p:cNvCxnSpPr/>
            <p:nvPr/>
          </p:nvCxnSpPr>
          <p:spPr bwMode="gray">
            <a:xfrm flipH="1">
              <a:off x="451477" y="2375004"/>
              <a:ext cx="82137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solidFill>
                  <a:prstClr val="white"/>
                </a:solidFill>
              </a:endParaRPr>
            </a:p>
          </p:txBody>
        </p:sp>
      </p:grpSp>
    </p:spTree>
  </p:cSld>
  <p:clrMapOvr>
    <a:masterClrMapping/>
  </p:clrMapOvr>
  <p:transition>
    <p:zoom/>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6" name="Untertitel 2"/>
          <p:cNvSpPr>
            <a:spLocks noGrp="1"/>
          </p:cNvSpPr>
          <p:nvPr>
            <p:ph type="subTitle" idx="1"/>
          </p:nvPr>
        </p:nvSpPr>
        <p:spPr>
          <a:xfrm>
            <a:off x="457201" y="693901"/>
            <a:ext cx="5808133" cy="220063"/>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endParaRPr lang="de-DE" altLang="fr-FR">
              <a:solidFill>
                <a:prstClr val="black"/>
              </a:solidFill>
            </a:endParaRPr>
          </a:p>
        </p:txBody>
      </p:sp>
      <p:sp>
        <p:nvSpPr>
          <p:cNvPr id="5" name="Fußzeilenplatzhalter 4"/>
          <p:cNvSpPr>
            <a:spLocks noGrp="1"/>
          </p:cNvSpPr>
          <p:nvPr>
            <p:ph type="ftr" sz="quarter" idx="11"/>
          </p:nvPr>
        </p:nvSpPr>
        <p:spPr/>
        <p:txBody>
          <a:bodyPr/>
          <a:lstStyle>
            <a:lvl1pPr>
              <a:defRPr/>
            </a:lvl1pPr>
          </a:lstStyle>
          <a:p>
            <a:endParaRPr lang="de-DE" altLang="fr-FR"/>
          </a:p>
        </p:txBody>
      </p:sp>
      <p:sp>
        <p:nvSpPr>
          <p:cNvPr id="7" name="Foliennummernplatzhalter 5"/>
          <p:cNvSpPr>
            <a:spLocks noGrp="1"/>
          </p:cNvSpPr>
          <p:nvPr>
            <p:ph type="sldNum" sz="quarter" idx="12"/>
          </p:nvPr>
        </p:nvSpPr>
        <p:spPr/>
        <p:txBody>
          <a:bodyPr/>
          <a:lstStyle>
            <a:lvl1pPr>
              <a:defRPr/>
            </a:lvl1pPr>
          </a:lstStyle>
          <a:p>
            <a:fld id="{33BBF0EA-312D-42F6-8AD4-6CEA31025EAE}" type="slidenum">
              <a:rPr lang="de-DE" altLang="fr-FR"/>
            </a:fld>
            <a:endParaRPr lang="de-DE" alt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hasCustomPrompt="1"/>
          </p:nvPr>
        </p:nvSpPr>
        <p:spPr/>
        <p:txBody>
          <a:bodyPr/>
          <a:lstStyle/>
          <a:p>
            <a:pPr lvl="0"/>
            <a:r>
              <a:rPr lang="de-DE" smtClean="0"/>
              <a:t>Textmasterformat bearbeiten</a:t>
            </a:r>
            <a:endParaRPr lang="de-DE" smtClean="0"/>
          </a:p>
          <a:p>
            <a:pPr lvl="1"/>
            <a:r>
              <a:rPr lang="de-DE" smtClean="0"/>
              <a:t>Zweite Ebene</a:t>
            </a:r>
            <a:endParaRPr lang="de-DE" smtClean="0"/>
          </a:p>
          <a:p>
            <a:pPr lvl="2"/>
            <a:r>
              <a:rPr lang="de-DE" smtClean="0"/>
              <a:t>Dritte Ebene</a:t>
            </a:r>
            <a:endParaRPr lang="de-DE" smtClean="0"/>
          </a:p>
          <a:p>
            <a:pPr lvl="3"/>
            <a:r>
              <a:rPr lang="de-DE" smtClean="0"/>
              <a:t>Vierte Ebene</a:t>
            </a:r>
            <a:endParaRPr lang="de-DE" smtClean="0"/>
          </a:p>
          <a:p>
            <a:pPr lvl="4"/>
            <a:r>
              <a:rPr lang="de-DE" smtClean="0"/>
              <a:t>Fünfte Ebene</a:t>
            </a:r>
            <a:endParaRPr lang="de-DE"/>
          </a:p>
        </p:txBody>
      </p:sp>
      <p:sp>
        <p:nvSpPr>
          <p:cNvPr id="4" name="Foliennummernplatzhalter 5"/>
          <p:cNvSpPr>
            <a:spLocks noGrp="1"/>
          </p:cNvSpPr>
          <p:nvPr>
            <p:ph type="sldNum" sz="quarter" idx="27"/>
          </p:nvPr>
        </p:nvSpPr>
        <p:spPr>
          <a:xfrm>
            <a:off x="8110538" y="4692650"/>
            <a:ext cx="468312" cy="177800"/>
          </a:xfrm>
        </p:spPr>
        <p:txBody>
          <a:bodyPr/>
          <a:lstStyle>
            <a:lvl1pPr>
              <a:defRPr/>
            </a:lvl1pPr>
          </a:lstStyle>
          <a:p>
            <a:fld id="{2E40362E-917C-4F61-AD60-F77268F07135}" type="slidenum">
              <a:rPr lang="de-DE" altLang="fr-FR"/>
            </a:fld>
            <a:endParaRPr lang="de-DE" altLang="fr-FR"/>
          </a:p>
        </p:txBody>
      </p:sp>
    </p:spTree>
  </p:cSld>
  <p:clrMapOvr>
    <a:masterClrMapping/>
  </p:clrMapOvr>
  <p:transition>
    <p:zoom/>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Rectangle 8"/>
          <p:cNvSpPr/>
          <p:nvPr userDrawn="1"/>
        </p:nvSpPr>
        <p:spPr>
          <a:xfrm>
            <a:off x="102295" y="4659982"/>
            <a:ext cx="864096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8" name="Rectangle 7"/>
          <p:cNvSpPr/>
          <p:nvPr userDrawn="1"/>
        </p:nvSpPr>
        <p:spPr>
          <a:xfrm>
            <a:off x="179512" y="915566"/>
            <a:ext cx="864096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fr-FR">
              <a:solidFill>
                <a:prstClr val="white"/>
              </a:solidFill>
            </a:endParaRPr>
          </a:p>
        </p:txBody>
      </p:sp>
      <p:sp>
        <p:nvSpPr>
          <p:cNvPr id="3" name="Espace réservé de la date 2"/>
          <p:cNvSpPr>
            <a:spLocks noGrp="1"/>
          </p:cNvSpPr>
          <p:nvPr>
            <p:ph type="dt" sz="half" idx="10"/>
          </p:nvPr>
        </p:nvSpPr>
        <p:spPr/>
        <p:txBody>
          <a:bodyPr/>
          <a:lstStyle/>
          <a:p>
            <a:endParaRPr lang="de-DE" altLang="fr-FR">
              <a:solidFill>
                <a:prstClr val="black"/>
              </a:solidFill>
            </a:endParaRPr>
          </a:p>
        </p:txBody>
      </p:sp>
      <p:sp>
        <p:nvSpPr>
          <p:cNvPr id="4" name="Espace réservé du pied de page 3"/>
          <p:cNvSpPr>
            <a:spLocks noGrp="1"/>
          </p:cNvSpPr>
          <p:nvPr>
            <p:ph type="ftr" sz="quarter" idx="11"/>
          </p:nvPr>
        </p:nvSpPr>
        <p:spPr/>
        <p:txBody>
          <a:bodyPr/>
          <a:lstStyle/>
          <a:p>
            <a:endParaRPr lang="de-DE" altLang="fr-FR"/>
          </a:p>
        </p:txBody>
      </p:sp>
      <p:sp>
        <p:nvSpPr>
          <p:cNvPr id="5" name="Espace réservé du numéro de diapositive 4"/>
          <p:cNvSpPr>
            <a:spLocks noGrp="1"/>
          </p:cNvSpPr>
          <p:nvPr>
            <p:ph type="sldNum" sz="quarter" idx="12"/>
          </p:nvPr>
        </p:nvSpPr>
        <p:spPr/>
        <p:txBody>
          <a:bodyPr/>
          <a:lstStyle/>
          <a:p>
            <a:fld id="{3B8617A0-974F-4611-AF26-CDAF10A0513F}" type="slidenum">
              <a:rPr lang="de-DE" altLang="fr-FR" smtClean="0"/>
            </a:fld>
            <a:endParaRPr lang="de-DE" altLang="fr-FR"/>
          </a:p>
        </p:txBody>
      </p:sp>
      <p:sp>
        <p:nvSpPr>
          <p:cNvPr id="20" name="Espace réservé du texte 19"/>
          <p:cNvSpPr>
            <a:spLocks noGrp="1"/>
          </p:cNvSpPr>
          <p:nvPr>
            <p:ph type="body" sz="quarter" idx="14"/>
          </p:nvPr>
        </p:nvSpPr>
        <p:spPr>
          <a:xfrm>
            <a:off x="4954588" y="2860427"/>
            <a:ext cx="3073400" cy="431800"/>
          </a:xfrm>
        </p:spPr>
        <p:txBody>
          <a:bodyPr/>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stStyle>
          <a:p>
            <a:pPr lvl="0"/>
            <a:r>
              <a:rPr lang="fr-FR" dirty="0"/>
              <a:t>Modifier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fr-FR" dirty="0"/>
          </a:p>
        </p:txBody>
      </p:sp>
      <p:sp>
        <p:nvSpPr>
          <p:cNvPr id="2" name="Titre 1"/>
          <p:cNvSpPr>
            <a:spLocks noGrp="1"/>
          </p:cNvSpPr>
          <p:nvPr>
            <p:ph type="title"/>
          </p:nvPr>
        </p:nvSpPr>
        <p:spPr>
          <a:xfrm>
            <a:off x="4954132" y="2355726"/>
            <a:ext cx="3073856" cy="485525"/>
          </a:xfrm>
        </p:spPr>
        <p:txBody>
          <a:bodyPr anchor="b"/>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MS PGothic" panose="020B0600070205080204" pitchFamily="34" charset="-128"/>
              </a:defRPr>
            </a:lvl1pPr>
          </a:lstStyle>
          <a:p>
            <a:r>
              <a:rPr lang="fr-FR" dirty="0"/>
              <a:t>Modifiez le style du titre</a:t>
            </a:r>
            <a:endParaRPr lang="fr-FR" dirty="0"/>
          </a:p>
        </p:txBody>
      </p:sp>
    </p:spTree>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2" name="Espace réservé du numéro de diapositive 5"/>
          <p:cNvSpPr>
            <a:spLocks noGrp="1"/>
          </p:cNvSpPr>
          <p:nvPr>
            <p:ph type="sldNum" sz="quarter" idx="10"/>
          </p:nvPr>
        </p:nvSpPr>
        <p:spPr>
          <a:xfrm>
            <a:off x="6900863" y="4711700"/>
            <a:ext cx="2057400" cy="273050"/>
          </a:xfrm>
          <a:prstGeom prst="rect">
            <a:avLst/>
          </a:prstGeom>
        </p:spPr>
        <p:txBody>
          <a:bodyPr vert="horz" lIns="68580" tIns="34290" rIns="68580" bIns="34290" rtlCol="0" anchor="ctr"/>
          <a:lstStyle>
            <a:lvl1pPr algn="r" defTabSz="914400" fontAlgn="auto">
              <a:spcBef>
                <a:spcPts val="0"/>
              </a:spcBef>
              <a:spcAft>
                <a:spcPts val="0"/>
              </a:spcAft>
              <a:defRPr sz="900">
                <a:solidFill>
                  <a:prstClr val="black"/>
                </a:solidFill>
                <a:latin typeface="Arial" panose="020B0604020202020204"/>
                <a:cs typeface="Arial" panose="020B0604020202020204"/>
              </a:defRPr>
            </a:lvl1pPr>
          </a:lstStyle>
          <a:p>
            <a:pPr>
              <a:defRPr/>
            </a:pPr>
            <a:fld id="{9FAFCEB4-50DF-41A7-82D9-EE3D77AABA92}" type="slidenum">
              <a:rPr lang="fr-FR"/>
            </a:fld>
            <a:endParaRPr lang="fr-FR"/>
          </a:p>
        </p:txBody>
      </p:sp>
      <p:sp>
        <p:nvSpPr>
          <p:cNvPr id="3" name="Titel 1"/>
          <p:cNvSpPr>
            <a:spLocks noGrp="1"/>
          </p:cNvSpPr>
          <p:nvPr>
            <p:ph type="title"/>
          </p:nvPr>
        </p:nvSpPr>
        <p:spPr>
          <a:xfrm>
            <a:off x="457200" y="488950"/>
            <a:ext cx="5808663" cy="166688"/>
          </a:xfrm>
        </p:spPr>
        <p:txBody>
          <a:bodyPr/>
          <a:lstStyle/>
          <a:p>
            <a:r>
              <a:rPr lang="de-DE" dirty="0" smtClean="0"/>
              <a:t>Titelmasterformat durch Klicken bearbeiten</a:t>
            </a:r>
            <a:endParaRPr lang="de-DE" dirty="0"/>
          </a:p>
        </p:txBody>
      </p:sp>
      <p:sp>
        <p:nvSpPr>
          <p:cNvPr id="4" name="Untertitel 2"/>
          <p:cNvSpPr>
            <a:spLocks noGrp="1"/>
          </p:cNvSpPr>
          <p:nvPr>
            <p:ph type="subTitle" idx="1"/>
          </p:nvPr>
        </p:nvSpPr>
        <p:spPr>
          <a:xfrm>
            <a:off x="457201" y="693901"/>
            <a:ext cx="5808133" cy="220063"/>
          </a:xfr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Tree>
  </p:cSld>
  <p:clrMapOvr>
    <a:masterClrMapping/>
  </p:clrMapOvr>
  <p:transition>
    <p:zoom/>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 rechts">
    <p:spTree>
      <p:nvGrpSpPr>
        <p:cNvPr id="1" name=""/>
        <p:cNvGrpSpPr/>
        <p:nvPr/>
      </p:nvGrpSpPr>
      <p:grpSpPr>
        <a:xfrm>
          <a:off x="0" y="0"/>
          <a:ext cx="0" cy="0"/>
          <a:chOff x="0" y="0"/>
          <a:chExt cx="0" cy="0"/>
        </a:xfrm>
      </p:grpSpPr>
      <p:sp>
        <p:nvSpPr>
          <p:cNvPr id="18" name="Bildplatzhalter 17"/>
          <p:cNvSpPr>
            <a:spLocks noGrp="1"/>
          </p:cNvSpPr>
          <p:nvPr>
            <p:ph type="pic" sz="quarter" idx="14" hasCustomPrompt="1"/>
          </p:nvPr>
        </p:nvSpPr>
        <p:spPr>
          <a:xfrm>
            <a:off x="5964238"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sp>
        <p:nvSpPr>
          <p:cNvPr id="5" name="Foliennummernplatzhalter 4"/>
          <p:cNvSpPr>
            <a:spLocks noGrp="1"/>
          </p:cNvSpPr>
          <p:nvPr>
            <p:ph type="sldNum" sz="quarter" idx="12"/>
          </p:nvPr>
        </p:nvSpPr>
        <p:spPr/>
        <p:txBody>
          <a:bodyPr/>
          <a:lstStyle/>
          <a:p>
            <a:fld id="{8AD48C63-78A6-4D64-B839-4870EFEB9C13}" type="slidenum">
              <a:rPr lang="en-US" smtClean="0"/>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Inhaltsplatzhalter 10"/>
          <p:cNvSpPr>
            <a:spLocks noGrp="1"/>
          </p:cNvSpPr>
          <p:nvPr>
            <p:ph sz="quarter" idx="13" hasCustomPrompt="1"/>
          </p:nvPr>
        </p:nvSpPr>
        <p:spPr>
          <a:xfrm>
            <a:off x="453687" y="1422400"/>
            <a:ext cx="5483789" cy="3025775"/>
          </a:xfrm>
          <a:prstGeom prst="rect">
            <a:avLst/>
          </a:prstGeom>
        </p:spPr>
        <p:txBody>
          <a:bodyPr lIns="190800" tIns="180000" rIns="190800"/>
          <a:lstStyle>
            <a:lvl1pPr marL="176530" indent="-176530">
              <a:buFont typeface="Symbol" panose="05050102010706020507" pitchFamily="18" charset="2"/>
              <a:buChar char="-"/>
              <a:defRPr b="0" i="1">
                <a:latin typeface="Times New Roman" panose="02020603050405020304" pitchFamily="18" charset="0"/>
                <a:cs typeface="Times New Roman" panose="02020603050405020304" pitchFamily="18" charset="0"/>
              </a:defRPr>
            </a:lvl1pPr>
          </a:lstStyle>
          <a:p>
            <a:pPr lvl="0"/>
            <a:r>
              <a:rPr lang="de-DE" dirty="0" smtClean="0"/>
              <a:t>Textmasterformat bearbeiten</a:t>
            </a:r>
            <a:endParaRPr lang="de-DE" dirty="0" smtClean="0"/>
          </a:p>
        </p:txBody>
      </p:sp>
    </p:spTree>
  </p:cSld>
  <p:clrMapOvr>
    <a:masterClrMapping/>
  </p:clrMapOvr>
  <p:transition>
    <p:zoom/>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lgn="r"/>
            <a:fld id="{987B5AF3-EE88-445E-87A0-BF86EDC22283}" type="datetime1">
              <a:rPr lang="en-US" smtClean="0"/>
            </a:fld>
            <a:endParaRPr lang="en-US" dirty="0"/>
          </a:p>
        </p:txBody>
      </p:sp>
      <p:sp>
        <p:nvSpPr>
          <p:cNvPr id="4" name="Fußzeilenplatzhalter 3"/>
          <p:cNvSpPr>
            <a:spLocks noGrp="1"/>
          </p:cNvSpPr>
          <p:nvPr>
            <p:ph type="ftr" sz="quarter" idx="11"/>
          </p:nvPr>
        </p:nvSpPr>
        <p:spPr/>
        <p:txBody>
          <a:bodyPr/>
          <a:lstStyle/>
          <a:p>
            <a:r>
              <a:rPr lang="en-US" smtClean="0"/>
              <a:t>First name last name, date</a:t>
            </a:r>
            <a:endParaRPr lang="en-US"/>
          </a:p>
        </p:txBody>
      </p:sp>
      <p:sp>
        <p:nvSpPr>
          <p:cNvPr id="5" name="Foliennummernplatzhalter 4"/>
          <p:cNvSpPr>
            <a:spLocks noGrp="1"/>
          </p:cNvSpPr>
          <p:nvPr>
            <p:ph type="sldNum" sz="quarter" idx="12"/>
          </p:nvPr>
        </p:nvSpPr>
        <p:spPr/>
        <p:txBody>
          <a:bodyPr/>
          <a:lstStyle/>
          <a:p>
            <a:fld id="{8AD48C63-78A6-4D64-B839-4870EFEB9C13}" type="slidenum">
              <a:rPr lang="en-US" smtClean="0"/>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3"/>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Inhaltsplatzhalter 10"/>
          <p:cNvSpPr>
            <a:spLocks noGrp="1"/>
          </p:cNvSpPr>
          <p:nvPr>
            <p:ph sz="quarter" idx="13" hasCustomPrompt="1"/>
          </p:nvPr>
        </p:nvSpPr>
        <p:spPr>
          <a:xfrm>
            <a:off x="3172281" y="1422400"/>
            <a:ext cx="5429852" cy="3025775"/>
          </a:xfrm>
          <a:prstGeom prst="rect">
            <a:avLst/>
          </a:prstGeom>
        </p:spPr>
        <p:txBody>
          <a:bodyPr lIns="190800" tIns="180000" rIns="190800"/>
          <a:lstStyle>
            <a:lvl1pPr marL="176530" indent="-176530">
              <a:buFont typeface="Symbol" panose="05050102010706020507" pitchFamily="18" charset="2"/>
              <a:buChar char="-"/>
              <a:defRPr b="0" i="1">
                <a:latin typeface="Times New Roman" panose="02020603050405020304" pitchFamily="18" charset="0"/>
                <a:cs typeface="Times New Roman" panose="02020603050405020304" pitchFamily="18" charset="0"/>
              </a:defRPr>
            </a:lvl1pPr>
          </a:lstStyle>
          <a:p>
            <a:pPr lvl="0"/>
            <a:r>
              <a:rPr lang="de-DE" dirty="0" smtClean="0"/>
              <a:t>Textmasterformat bearbeiten</a:t>
            </a:r>
            <a:endParaRPr lang="de-DE" dirty="0" smtClean="0"/>
          </a:p>
        </p:txBody>
      </p:sp>
      <p:sp>
        <p:nvSpPr>
          <p:cNvPr id="10" name="Bildplatzhalter 17"/>
          <p:cNvSpPr>
            <a:spLocks noGrp="1"/>
          </p:cNvSpPr>
          <p:nvPr>
            <p:ph type="pic" sz="quarter" idx="14" hasCustomPrompt="1"/>
          </p:nvPr>
        </p:nvSpPr>
        <p:spPr>
          <a:xfrm>
            <a:off x="446617" y="1422400"/>
            <a:ext cx="2703512" cy="3025775"/>
          </a:xfrm>
          <a:prstGeom prst="rect">
            <a:avLst/>
          </a:prstGeom>
        </p:spPr>
        <p:txBody>
          <a:bodyPr/>
          <a:lstStyle>
            <a:lvl1pPr algn="ctr">
              <a:defRPr/>
            </a:lvl1pPr>
          </a:lstStyle>
          <a:p>
            <a:endParaRPr lang="en-US" dirty="0" smtClean="0"/>
          </a:p>
          <a:p>
            <a:endParaRPr lang="en-US" dirty="0" smtClean="0"/>
          </a:p>
          <a:p>
            <a:endParaRPr lang="en-US" dirty="0" smtClean="0"/>
          </a:p>
          <a:p>
            <a:endParaRPr lang="en-US" dirty="0" smtClean="0"/>
          </a:p>
          <a:p>
            <a:endParaRPr lang="de-DE" dirty="0"/>
          </a:p>
        </p:txBody>
      </p:sp>
      <p:grpSp>
        <p:nvGrpSpPr>
          <p:cNvPr id="11" name="Gruppieren 10"/>
          <p:cNvGrpSpPr/>
          <p:nvPr userDrawn="1"/>
        </p:nvGrpSpPr>
        <p:grpSpPr bwMode="gray">
          <a:xfrm rot="5400000">
            <a:off x="1603027" y="2825862"/>
            <a:ext cx="3100629" cy="144000"/>
            <a:chOff x="379469" y="2303004"/>
            <a:chExt cx="3100629" cy="144000"/>
          </a:xfrm>
        </p:grpSpPr>
        <p:cxnSp>
          <p:nvCxnSpPr>
            <p:cNvPr id="12" name="Gerade Verbindung 11"/>
            <p:cNvCxnSpPr/>
            <p:nvPr/>
          </p:nvCxnSpPr>
          <p:spPr bwMode="gray">
            <a:xfrm rot="16200000" flipV="1">
              <a:off x="1965788" y="860693"/>
              <a:ext cx="0" cy="30286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p>
          </p:txBody>
        </p:sp>
      </p:grpSp>
    </p:spTree>
  </p:cSld>
  <p:clrMapOvr>
    <a:masterClrMapping/>
  </p:clrMapOvr>
  <p:transition>
    <p:zoom/>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8AD48C63-78A6-4D64-B839-4870EFEB9C13}" type="slidenum">
              <a:rPr lang="en-US" smtClean="0"/>
            </a:fld>
            <a:endParaRPr lang="en-US" dirty="0"/>
          </a:p>
        </p:txBody>
      </p:sp>
      <p:sp>
        <p:nvSpPr>
          <p:cNvPr id="6" name="Titel 1"/>
          <p:cNvSpPr>
            <a:spLocks noGrp="1"/>
          </p:cNvSpPr>
          <p:nvPr>
            <p:ph type="title"/>
          </p:nvPr>
        </p:nvSpPr>
        <p:spPr bwMode="gray">
          <a:xfrm>
            <a:off x="457201" y="426407"/>
            <a:ext cx="5808133" cy="165894"/>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Untertitel 2"/>
          <p:cNvSpPr>
            <a:spLocks noGrp="1"/>
          </p:cNvSpPr>
          <p:nvPr>
            <p:ph type="subTitle" idx="1"/>
          </p:nvPr>
        </p:nvSpPr>
        <p:spPr bwMode="gray">
          <a:xfrm>
            <a:off x="397932" y="601972"/>
            <a:ext cx="5808133" cy="288000"/>
          </a:xfrm>
          <a:prstGeom prst="rect">
            <a:avLst/>
          </a:prstGeom>
        </p:spPr>
        <p:txBody>
          <a:bodyPr/>
          <a:lstStyle>
            <a:lvl1pPr marL="0" indent="0" algn="l">
              <a:buNone/>
              <a:defRPr sz="2200" b="0" i="1">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1" name="Bildplatzhalter 10"/>
          <p:cNvSpPr>
            <a:spLocks noGrp="1"/>
          </p:cNvSpPr>
          <p:nvPr>
            <p:ph type="pic" sz="quarter" idx="14" hasCustomPrompt="1"/>
          </p:nvPr>
        </p:nvSpPr>
        <p:spPr>
          <a:xfrm>
            <a:off x="457200" y="3081485"/>
            <a:ext cx="8210550" cy="1366690"/>
          </a:xfrm>
          <a:prstGeom prst="rect">
            <a:avLst/>
          </a:prstGeom>
        </p:spPr>
        <p:txBody>
          <a:bodyPr/>
          <a:lstStyle>
            <a:lvl1pPr algn="ctr">
              <a:defRPr/>
            </a:lvl1pPr>
          </a:lstStyle>
          <a:p>
            <a:endParaRPr lang="en-US" dirty="0" smtClean="0"/>
          </a:p>
          <a:p>
            <a:endParaRPr lang="en-US" dirty="0" smtClean="0"/>
          </a:p>
          <a:p>
            <a:endParaRPr lang="en-US" dirty="0" smtClean="0"/>
          </a:p>
        </p:txBody>
      </p:sp>
      <p:sp>
        <p:nvSpPr>
          <p:cNvPr id="17" name="Textplatzhalter 16"/>
          <p:cNvSpPr>
            <a:spLocks noGrp="1"/>
          </p:cNvSpPr>
          <p:nvPr>
            <p:ph type="body" sz="quarter" idx="15" hasCustomPrompt="1"/>
          </p:nvPr>
        </p:nvSpPr>
        <p:spPr>
          <a:xfrm>
            <a:off x="450850" y="1422400"/>
            <a:ext cx="8216900" cy="1676400"/>
          </a:xfrm>
          <a:prstGeom prst="rect">
            <a:avLst/>
          </a:prstGeom>
        </p:spPr>
        <p:txBody>
          <a:bodyPr lIns="190800" tIns="180000" rIns="190800"/>
          <a:lstStyle>
            <a:lvl1pPr marL="176530" indent="-176530">
              <a:buFont typeface="Symbol" panose="05050102010706020507" pitchFamily="18" charset="2"/>
              <a:buChar char="-"/>
              <a:defRPr b="0" i="1">
                <a:latin typeface="Times New Roman" panose="02020603050405020304" pitchFamily="18" charset="0"/>
                <a:cs typeface="Times New Roman" panose="02020603050405020304" pitchFamily="18" charset="0"/>
              </a:defRPr>
            </a:lvl1pPr>
          </a:lstStyle>
          <a:p>
            <a:pPr lvl="0"/>
            <a:r>
              <a:rPr lang="de-DE" dirty="0" smtClean="0"/>
              <a:t>Textmasterformat bearbeiten</a:t>
            </a:r>
            <a:endParaRPr lang="de-DE" dirty="0" smtClean="0"/>
          </a:p>
        </p:txBody>
      </p:sp>
      <p:grpSp>
        <p:nvGrpSpPr>
          <p:cNvPr id="13" name="Gruppieren 12"/>
          <p:cNvGrpSpPr/>
          <p:nvPr userDrawn="1"/>
        </p:nvGrpSpPr>
        <p:grpSpPr bwMode="gray">
          <a:xfrm>
            <a:off x="379469" y="3026539"/>
            <a:ext cx="8285730" cy="144000"/>
            <a:chOff x="379469" y="2303004"/>
            <a:chExt cx="8285730" cy="144000"/>
          </a:xfrm>
        </p:grpSpPr>
        <p:cxnSp>
          <p:nvCxnSpPr>
            <p:cNvPr id="14" name="Gerade Verbindung 13"/>
            <p:cNvCxnSpPr/>
            <p:nvPr/>
          </p:nvCxnSpPr>
          <p:spPr bwMode="gray">
            <a:xfrm flipH="1">
              <a:off x="451477" y="2375004"/>
              <a:ext cx="821372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bwMode="gray">
            <a:xfrm rot="18900000">
              <a:off x="379469" y="2303004"/>
              <a:ext cx="144000"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p>
          </p:txBody>
        </p:sp>
      </p:grpSp>
    </p:spTree>
  </p:cSld>
  <p:clrMapOvr>
    <a:masterClrMapping/>
  </p:clrMapOvr>
  <p:transition>
    <p:zoom/>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image" Target="../media/image2.png"/><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1.xml"/><Relationship Id="rId8" Type="http://schemas.openxmlformats.org/officeDocument/2006/relationships/slideLayout" Target="../slideLayouts/slideLayout20.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7" Type="http://schemas.openxmlformats.org/officeDocument/2006/relationships/theme" Target="../theme/theme2.xml"/><Relationship Id="rId16" Type="http://schemas.openxmlformats.org/officeDocument/2006/relationships/image" Target="../media/image2.png"/><Relationship Id="rId15" Type="http://schemas.openxmlformats.org/officeDocument/2006/relationships/slideLayout" Target="../slideLayouts/slideLayout27.xml"/><Relationship Id="rId14" Type="http://schemas.openxmlformats.org/officeDocument/2006/relationships/slideLayout" Target="../slideLayouts/slideLayout26.xml"/><Relationship Id="rId13" Type="http://schemas.openxmlformats.org/officeDocument/2006/relationships/slideLayout" Target="../slideLayouts/slideLayout25.xml"/><Relationship Id="rId12" Type="http://schemas.openxmlformats.org/officeDocument/2006/relationships/slideLayout" Target="../slideLayouts/slideLayout24.xml"/><Relationship Id="rId11" Type="http://schemas.openxmlformats.org/officeDocument/2006/relationships/slideLayout" Target="../slideLayouts/slideLayout23.xml"/><Relationship Id="rId10" Type="http://schemas.openxmlformats.org/officeDocument/2006/relationships/slideLayout" Target="../slideLayouts/slideLayout2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6.xml"/><Relationship Id="rId8" Type="http://schemas.openxmlformats.org/officeDocument/2006/relationships/slideLayout" Target="../slideLayouts/slideLayout35.xml"/><Relationship Id="rId7" Type="http://schemas.openxmlformats.org/officeDocument/2006/relationships/slideLayout" Target="../slideLayouts/slideLayout34.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3" Type="http://schemas.openxmlformats.org/officeDocument/2006/relationships/slideLayout" Target="../slideLayouts/slideLayout30.xml"/><Relationship Id="rId2" Type="http://schemas.openxmlformats.org/officeDocument/2006/relationships/slideLayout" Target="../slideLayouts/slideLayout29.xml"/><Relationship Id="rId12" Type="http://schemas.openxmlformats.org/officeDocument/2006/relationships/theme" Target="../theme/theme3.xml"/><Relationship Id="rId11" Type="http://schemas.openxmlformats.org/officeDocument/2006/relationships/image" Target="../media/image2.png"/><Relationship Id="rId10" Type="http://schemas.openxmlformats.org/officeDocument/2006/relationships/slideLayout" Target="../slideLayouts/slideLayout37.xml"/><Relationship Id="rId1"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lstStyle/>
          <a:p>
            <a:pPr lvl="0"/>
            <a:r>
              <a:rPr lang="de-DE" altLang="fr-FR" dirty="0" smtClean="0"/>
              <a:t>Titelmasterformat durch Klicken bearbeiten</a:t>
            </a:r>
            <a:endParaRPr lang="de-DE" altLang="fr-FR" dirty="0" smtClean="0"/>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de-DE" altLang="fr-FR" smtClean="0"/>
              <a:t>Textmasterformat bearbeiten</a:t>
            </a:r>
            <a:endParaRPr lang="de-DE" altLang="fr-FR" smtClean="0"/>
          </a:p>
          <a:p>
            <a:pPr lvl="1"/>
            <a:r>
              <a:rPr lang="de-DE" altLang="fr-FR" smtClean="0"/>
              <a:t>Zweite Ebene</a:t>
            </a:r>
            <a:endParaRPr lang="de-DE" altLang="fr-FR" smtClean="0"/>
          </a:p>
          <a:p>
            <a:pPr lvl="2"/>
            <a:r>
              <a:rPr lang="de-DE" altLang="fr-FR" smtClean="0"/>
              <a:t>Dritte Ebene</a:t>
            </a:r>
            <a:endParaRPr lang="de-DE" altLang="fr-FR" smtClean="0"/>
          </a:p>
          <a:p>
            <a:pPr lvl="3"/>
            <a:r>
              <a:rPr lang="de-DE" altLang="fr-FR" smtClean="0"/>
              <a:t>Vierte Ebene</a:t>
            </a:r>
            <a:endParaRPr lang="de-DE" altLang="fr-FR" smtClean="0"/>
          </a:p>
          <a:p>
            <a:pPr lvl="4"/>
            <a:r>
              <a:rPr lang="de-DE" altLang="fr-FR" smtClean="0"/>
              <a:t>Fünfte Ebene</a:t>
            </a:r>
            <a:endParaRPr lang="de-DE" altLang="fr-FR" smtClean="0"/>
          </a:p>
          <a:p>
            <a:pPr lvl="4"/>
            <a:r>
              <a:rPr lang="de-DE" altLang="fr-FR" smtClean="0"/>
              <a:t>Sechste Ebene</a:t>
            </a:r>
            <a:endParaRPr lang="de-DE" altLang="fr-FR" smtClean="0"/>
          </a:p>
          <a:p>
            <a:pPr lvl="4"/>
            <a:r>
              <a:rPr lang="de-DE" altLang="fr-FR" smtClean="0"/>
              <a:t>Siebte Ebene</a:t>
            </a:r>
            <a:endParaRPr lang="de-DE" altLang="fr-FR" smtClean="0"/>
          </a:p>
          <a:p>
            <a:pPr lvl="4"/>
            <a:r>
              <a:rPr lang="de-DE" altLang="fr-FR" smtClean="0"/>
              <a:t>Achte Ebene</a:t>
            </a:r>
            <a:endParaRPr lang="de-DE" altLang="fr-FR" smtClean="0"/>
          </a:p>
          <a:p>
            <a:pPr lvl="4"/>
            <a:r>
              <a:rPr lang="de-DE" altLang="fr-FR" smtClean="0"/>
              <a:t>Neunte Ebene</a:t>
            </a:r>
            <a:endParaRPr lang="de-DE" altLang="fr-FR" smtClean="0"/>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noAutofit/>
          </a:bodyPr>
          <a:lstStyle>
            <a:lvl1pPr algn="r" eaLnBrk="1" hangingPunct="1">
              <a:defRPr sz="800">
                <a:solidFill>
                  <a:srgbClr val="A8A09E"/>
                </a:solidFill>
              </a:defRPr>
            </a:lvl1pPr>
          </a:lstStyle>
          <a:p>
            <a:pPr fontAlgn="base">
              <a:spcBef>
                <a:spcPct val="0"/>
              </a:spcBef>
              <a:spcAft>
                <a:spcPct val="0"/>
              </a:spcAft>
            </a:pPr>
            <a:fld id="{3B8617A0-974F-4611-AF26-CDAF10A0513F}" type="slidenum">
              <a:rPr lang="de-DE" altLang="fr-FR">
                <a:ea typeface="MS PGothic" panose="020B0600070205080204" pitchFamily="34" charset="-128"/>
              </a:rPr>
            </a:fld>
            <a:endParaRPr lang="de-DE" altLang="fr-FR">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236297" y="-1590"/>
            <a:ext cx="1907703" cy="106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p:zoom/>
  </p:transition>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MS PGothic" panose="020B0600070205080204" pitchFamily="34" charset="-128"/>
        </a:defRPr>
      </a:lvl1pPr>
      <a:lvl2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lstStyle/>
          <a:p>
            <a:pPr lvl="0"/>
            <a:r>
              <a:rPr lang="de-DE" altLang="fr-FR" dirty="0" smtClean="0"/>
              <a:t>Titelmasterformat durch Klicken bearbeiten</a:t>
            </a:r>
            <a:endParaRPr lang="de-DE" altLang="fr-FR" dirty="0" smtClean="0"/>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de-DE" altLang="fr-FR" smtClean="0"/>
              <a:t>Textmasterformat bearbeiten</a:t>
            </a:r>
            <a:endParaRPr lang="de-DE" altLang="fr-FR" smtClean="0"/>
          </a:p>
          <a:p>
            <a:pPr lvl="1"/>
            <a:r>
              <a:rPr lang="de-DE" altLang="fr-FR" smtClean="0"/>
              <a:t>Zweite Ebene</a:t>
            </a:r>
            <a:endParaRPr lang="de-DE" altLang="fr-FR" smtClean="0"/>
          </a:p>
          <a:p>
            <a:pPr lvl="2"/>
            <a:r>
              <a:rPr lang="de-DE" altLang="fr-FR" smtClean="0"/>
              <a:t>Dritte Ebene</a:t>
            </a:r>
            <a:endParaRPr lang="de-DE" altLang="fr-FR" smtClean="0"/>
          </a:p>
          <a:p>
            <a:pPr lvl="3"/>
            <a:r>
              <a:rPr lang="de-DE" altLang="fr-FR" smtClean="0"/>
              <a:t>Vierte Ebene</a:t>
            </a:r>
            <a:endParaRPr lang="de-DE" altLang="fr-FR" smtClean="0"/>
          </a:p>
          <a:p>
            <a:pPr lvl="4"/>
            <a:r>
              <a:rPr lang="de-DE" altLang="fr-FR" smtClean="0"/>
              <a:t>Fünfte Ebene</a:t>
            </a:r>
            <a:endParaRPr lang="de-DE" altLang="fr-FR" smtClean="0"/>
          </a:p>
          <a:p>
            <a:pPr lvl="4"/>
            <a:r>
              <a:rPr lang="de-DE" altLang="fr-FR" smtClean="0"/>
              <a:t>Sechste Ebene</a:t>
            </a:r>
            <a:endParaRPr lang="de-DE" altLang="fr-FR" smtClean="0"/>
          </a:p>
          <a:p>
            <a:pPr lvl="4"/>
            <a:r>
              <a:rPr lang="de-DE" altLang="fr-FR" smtClean="0"/>
              <a:t>Siebte Ebene</a:t>
            </a:r>
            <a:endParaRPr lang="de-DE" altLang="fr-FR" smtClean="0"/>
          </a:p>
          <a:p>
            <a:pPr lvl="4"/>
            <a:r>
              <a:rPr lang="de-DE" altLang="fr-FR" smtClean="0"/>
              <a:t>Achte Ebene</a:t>
            </a:r>
            <a:endParaRPr lang="de-DE" altLang="fr-FR" smtClean="0"/>
          </a:p>
          <a:p>
            <a:pPr lvl="4"/>
            <a:r>
              <a:rPr lang="de-DE" altLang="fr-FR" smtClean="0"/>
              <a:t>Neunte Ebene</a:t>
            </a:r>
            <a:endParaRPr lang="de-DE" altLang="fr-FR" smtClean="0"/>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noAutofit/>
          </a:bodyPr>
          <a:lstStyle>
            <a:lvl1pPr algn="r" eaLnBrk="1" hangingPunct="1">
              <a:defRPr sz="800">
                <a:solidFill>
                  <a:srgbClr val="A8A09E"/>
                </a:solidFill>
              </a:defRPr>
            </a:lvl1pPr>
          </a:lstStyle>
          <a:p>
            <a:pPr fontAlgn="base">
              <a:spcBef>
                <a:spcPct val="0"/>
              </a:spcBef>
              <a:spcAft>
                <a:spcPct val="0"/>
              </a:spcAft>
            </a:pPr>
            <a:fld id="{D80AA324-4C60-4D9A-8A46-4D2FB0E69A74}" type="slidenum">
              <a:rPr lang="de-DE" altLang="fr-FR" smtClean="0">
                <a:ea typeface="MS PGothic" panose="020B0600070205080204" pitchFamily="34" charset="-128"/>
              </a:rPr>
            </a:fld>
            <a:endParaRPr lang="de-DE" altLang="fr-FR" dirty="0">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7236296" y="-1590"/>
            <a:ext cx="1907703" cy="106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Lst>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MS PGothic" panose="020B0600070205080204" pitchFamily="34" charset="-128"/>
        </a:defRPr>
      </a:lvl1pPr>
      <a:lvl2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488950"/>
            <a:ext cx="580866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lstStyle/>
          <a:p>
            <a:pPr lvl="0"/>
            <a:r>
              <a:rPr lang="de-DE" altLang="fr-FR" dirty="0" smtClean="0"/>
              <a:t>Titelmasterformat durch Klicken bearbeiten</a:t>
            </a:r>
            <a:endParaRPr lang="de-DE" altLang="fr-FR" dirty="0" smtClean="0"/>
          </a:p>
        </p:txBody>
      </p:sp>
      <p:sp>
        <p:nvSpPr>
          <p:cNvPr id="1027" name="Textplatzhalter 2"/>
          <p:cNvSpPr>
            <a:spLocks noGrp="1"/>
          </p:cNvSpPr>
          <p:nvPr>
            <p:ph type="body" idx="1"/>
          </p:nvPr>
        </p:nvSpPr>
        <p:spPr bwMode="auto">
          <a:xfrm>
            <a:off x="457200" y="1397000"/>
            <a:ext cx="812006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lstStyle/>
          <a:p>
            <a:pPr lvl="0"/>
            <a:r>
              <a:rPr lang="de-DE" altLang="fr-FR" smtClean="0"/>
              <a:t>Textmasterformat bearbeiten</a:t>
            </a:r>
            <a:endParaRPr lang="de-DE" altLang="fr-FR" smtClean="0"/>
          </a:p>
          <a:p>
            <a:pPr lvl="1"/>
            <a:r>
              <a:rPr lang="de-DE" altLang="fr-FR" smtClean="0"/>
              <a:t>Zweite Ebene</a:t>
            </a:r>
            <a:endParaRPr lang="de-DE" altLang="fr-FR" smtClean="0"/>
          </a:p>
          <a:p>
            <a:pPr lvl="2"/>
            <a:r>
              <a:rPr lang="de-DE" altLang="fr-FR" smtClean="0"/>
              <a:t>Dritte Ebene</a:t>
            </a:r>
            <a:endParaRPr lang="de-DE" altLang="fr-FR" smtClean="0"/>
          </a:p>
          <a:p>
            <a:pPr lvl="3"/>
            <a:r>
              <a:rPr lang="de-DE" altLang="fr-FR" smtClean="0"/>
              <a:t>Vierte Ebene</a:t>
            </a:r>
            <a:endParaRPr lang="de-DE" altLang="fr-FR" smtClean="0"/>
          </a:p>
          <a:p>
            <a:pPr lvl="4"/>
            <a:r>
              <a:rPr lang="de-DE" altLang="fr-FR" smtClean="0"/>
              <a:t>Fünfte Ebene</a:t>
            </a:r>
            <a:endParaRPr lang="de-DE" altLang="fr-FR" smtClean="0"/>
          </a:p>
          <a:p>
            <a:pPr lvl="4"/>
            <a:r>
              <a:rPr lang="de-DE" altLang="fr-FR" smtClean="0"/>
              <a:t>Sechste Ebene</a:t>
            </a:r>
            <a:endParaRPr lang="de-DE" altLang="fr-FR" smtClean="0"/>
          </a:p>
          <a:p>
            <a:pPr lvl="4"/>
            <a:r>
              <a:rPr lang="de-DE" altLang="fr-FR" smtClean="0"/>
              <a:t>Siebte Ebene</a:t>
            </a:r>
            <a:endParaRPr lang="de-DE" altLang="fr-FR" smtClean="0"/>
          </a:p>
          <a:p>
            <a:pPr lvl="4"/>
            <a:r>
              <a:rPr lang="de-DE" altLang="fr-FR" smtClean="0"/>
              <a:t>Achte Ebene</a:t>
            </a:r>
            <a:endParaRPr lang="de-DE" altLang="fr-FR" smtClean="0"/>
          </a:p>
          <a:p>
            <a:pPr lvl="4"/>
            <a:r>
              <a:rPr lang="de-DE" altLang="fr-FR" smtClean="0"/>
              <a:t>Neunte Ebene</a:t>
            </a:r>
            <a:endParaRPr lang="de-DE" altLang="fr-FR" smtClean="0"/>
          </a:p>
        </p:txBody>
      </p:sp>
      <p:sp>
        <p:nvSpPr>
          <p:cNvPr id="4" name="Datumsplatzhalter 3"/>
          <p:cNvSpPr>
            <a:spLocks noGrp="1"/>
          </p:cNvSpPr>
          <p:nvPr>
            <p:ph type="dt" sz="half" idx="2"/>
          </p:nvPr>
        </p:nvSpPr>
        <p:spPr>
          <a:xfrm>
            <a:off x="3651250" y="4692650"/>
            <a:ext cx="771525" cy="177800"/>
          </a:xfrm>
          <a:prstGeom prst="rect">
            <a:avLst/>
          </a:prstGeom>
        </p:spPr>
        <p:txBody>
          <a:bodyPr vert="horz" wrap="square" lIns="0" tIns="0" rIns="0" bIns="10800" numCol="1" anchor="b" anchorCtr="0" compatLnSpc="1">
            <a:noAutofit/>
          </a:bodyPr>
          <a:lstStyle>
            <a:lvl1pPr algn="r" eaLnBrk="1" hangingPunct="1">
              <a:defRPr sz="800"/>
            </a:lvl1pPr>
          </a:lstStyle>
          <a:p>
            <a:pPr fontAlgn="base">
              <a:spcBef>
                <a:spcPct val="0"/>
              </a:spcBef>
              <a:spcAft>
                <a:spcPct val="0"/>
              </a:spcAft>
            </a:pPr>
            <a:endParaRPr lang="de-DE" altLang="fr-FR">
              <a:solidFill>
                <a:prstClr val="black"/>
              </a:solidFill>
              <a:ea typeface="MS PGothic" panose="020B0600070205080204" pitchFamily="34" charset="-128"/>
            </a:endParaRPr>
          </a:p>
        </p:txBody>
      </p:sp>
      <p:sp>
        <p:nvSpPr>
          <p:cNvPr id="5" name="Fußzeilenplatzhalter 4"/>
          <p:cNvSpPr>
            <a:spLocks noGrp="1"/>
          </p:cNvSpPr>
          <p:nvPr>
            <p:ph type="ftr" sz="quarter" idx="3"/>
          </p:nvPr>
        </p:nvSpPr>
        <p:spPr>
          <a:xfrm>
            <a:off x="4525963" y="4692650"/>
            <a:ext cx="2959100" cy="177800"/>
          </a:xfrm>
          <a:prstGeom prst="rect">
            <a:avLst/>
          </a:prstGeom>
        </p:spPr>
        <p:txBody>
          <a:bodyPr vert="horz" wrap="square" lIns="0" tIns="0" rIns="0" bIns="10800" numCol="1" anchor="b" anchorCtr="0" compatLnSpc="1">
            <a:noAutofit/>
          </a:bodyPr>
          <a:lstStyle>
            <a:lvl1pPr algn="r" eaLnBrk="1" hangingPunct="1">
              <a:defRPr sz="800">
                <a:solidFill>
                  <a:srgbClr val="A8A09E"/>
                </a:solidFill>
              </a:defRPr>
            </a:lvl1pPr>
          </a:lstStyle>
          <a:p>
            <a:pPr fontAlgn="base">
              <a:spcBef>
                <a:spcPct val="0"/>
              </a:spcBef>
              <a:spcAft>
                <a:spcPct val="0"/>
              </a:spcAft>
            </a:pPr>
            <a:endParaRPr lang="de-DE" altLang="fr-FR">
              <a:ea typeface="MS PGothic" panose="020B0600070205080204" pitchFamily="34" charset="-128"/>
            </a:endParaRPr>
          </a:p>
        </p:txBody>
      </p:sp>
      <p:sp>
        <p:nvSpPr>
          <p:cNvPr id="6" name="Foliennummernplatzhalter 5"/>
          <p:cNvSpPr>
            <a:spLocks noGrp="1"/>
          </p:cNvSpPr>
          <p:nvPr>
            <p:ph type="sldNum" sz="quarter" idx="4"/>
          </p:nvPr>
        </p:nvSpPr>
        <p:spPr>
          <a:xfrm>
            <a:off x="8110538" y="4692650"/>
            <a:ext cx="468312" cy="177800"/>
          </a:xfrm>
          <a:prstGeom prst="rect">
            <a:avLst/>
          </a:prstGeom>
        </p:spPr>
        <p:txBody>
          <a:bodyPr vert="horz" wrap="square" lIns="0" tIns="0" rIns="0" bIns="10800" numCol="1" anchor="b" anchorCtr="0" compatLnSpc="1">
            <a:noAutofit/>
          </a:bodyPr>
          <a:lstStyle>
            <a:lvl1pPr algn="r" eaLnBrk="1" hangingPunct="1">
              <a:defRPr sz="800">
                <a:solidFill>
                  <a:srgbClr val="A8A09E"/>
                </a:solidFill>
              </a:defRPr>
            </a:lvl1pPr>
          </a:lstStyle>
          <a:p>
            <a:pPr fontAlgn="base">
              <a:spcBef>
                <a:spcPct val="0"/>
              </a:spcBef>
              <a:spcAft>
                <a:spcPct val="0"/>
              </a:spcAft>
            </a:pPr>
            <a:fld id="{3B8617A0-974F-4611-AF26-CDAF10A0513F}" type="slidenum">
              <a:rPr lang="de-DE" altLang="fr-FR">
                <a:ea typeface="MS PGothic" panose="020B0600070205080204" pitchFamily="34" charset="-128"/>
              </a:rPr>
            </a:fld>
            <a:endParaRPr lang="de-DE" altLang="fr-FR">
              <a:ea typeface="MS PGothic" panose="020B0600070205080204" pitchFamily="34" charset="-128"/>
            </a:endParaRPr>
          </a:p>
        </p:txBody>
      </p:sp>
      <p:cxnSp>
        <p:nvCxnSpPr>
          <p:cNvPr id="8" name="Gerade Verbindung 7"/>
          <p:cNvCxnSpPr/>
          <p:nvPr/>
        </p:nvCxnSpPr>
        <p:spPr>
          <a:xfrm>
            <a:off x="457200" y="106680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457200" y="4692650"/>
            <a:ext cx="812323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236296" y="-1590"/>
            <a:ext cx="1907703" cy="106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Lst>
  <p:transition>
    <p:zoom/>
  </p:transition>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200" kern="1200">
          <a:solidFill>
            <a:schemeClr val="tx1"/>
          </a:solidFill>
          <a:latin typeface="+mj-lt"/>
          <a:ea typeface="MS PGothic" panose="020B0600070205080204" pitchFamily="34" charset="-128"/>
          <a:cs typeface="MS PGothic" panose="020B0600070205080204" pitchFamily="34" charset="-128"/>
        </a:defRPr>
      </a:lvl1pPr>
      <a:lvl2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p:titleStyle>
    <p:bodyStyle>
      <a:lvl1pPr marL="342900" indent="-342900" algn="l" rtl="0" eaLnBrk="0" fontAlgn="base" hangingPunct="0">
        <a:spcBef>
          <a:spcPct val="20000"/>
        </a:spcBef>
        <a:spcAft>
          <a:spcPts val="300"/>
        </a:spcAft>
        <a:buFont typeface="Arial" panose="020B0604020202020204" pitchFamily="34" charset="0"/>
        <a:defRPr sz="1600" b="1" kern="12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Arial" panose="020B0604020202020204" pitchFamily="34" charset="0"/>
        <a:defRPr sz="1200" kern="1200">
          <a:solidFill>
            <a:schemeClr val="tx1"/>
          </a:solidFill>
          <a:latin typeface="+mn-lt"/>
          <a:ea typeface="MS PGothic" panose="020B0600070205080204" pitchFamily="34" charset="-128"/>
          <a:cs typeface="+mn-cs"/>
        </a:defRPr>
      </a:lvl2pPr>
      <a:lvl3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3pPr>
      <a:lvl4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92075" indent="-107950" algn="l"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5.xml"/><Relationship Id="rId2" Type="http://schemas.openxmlformats.org/officeDocument/2006/relationships/image" Target="../media/image6.png"/><Relationship Id="rId1" Type="http://schemas.openxmlformats.org/officeDocument/2006/relationships/image" Target="../media/image5.jpeg"/></Relationships>
</file>

<file path=ppt/slides/_rels/slide10.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slideLayout" Target="../slideLayouts/slideLayout2.xml"/><Relationship Id="rId7" Type="http://schemas.openxmlformats.org/officeDocument/2006/relationships/image" Target="../media/image13.png"/><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jpeg"/><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image" Target="../media/image13.png"/></Relationships>
</file>

<file path=ppt/slides/_rels/slide12.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image" Target="../media/image36.jpeg"/><Relationship Id="rId3" Type="http://schemas.openxmlformats.org/officeDocument/2006/relationships/image" Target="../media/image35.jpeg"/><Relationship Id="rId2" Type="http://schemas.microsoft.com/office/2007/relationships/hdphoto" Target="../media/image34.wdp"/><Relationship Id="rId1" Type="http://schemas.openxmlformats.org/officeDocument/2006/relationships/image" Target="../media/image33.png"/></Relationships>
</file>

<file path=ppt/slides/_rels/slide13.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microsoft.com/office/2007/relationships/hdphoto" Target="../media/image34.wdp"/><Relationship Id="rId7" Type="http://schemas.openxmlformats.org/officeDocument/2006/relationships/image" Target="../media/image33.png"/><Relationship Id="rId6" Type="http://schemas.openxmlformats.org/officeDocument/2006/relationships/image" Target="../media/image41.png"/><Relationship Id="rId5" Type="http://schemas.openxmlformats.org/officeDocument/2006/relationships/image" Target="../media/image5.svg"/><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image" Target="../media/image38.png"/><Relationship Id="rId10" Type="http://schemas.openxmlformats.org/officeDocument/2006/relationships/notesSlide" Target="../notesSlides/notesSlide11.xml"/><Relationship Id="rId1" Type="http://schemas.openxmlformats.org/officeDocument/2006/relationships/image" Target="../media/image37.png"/></Relationships>
</file>

<file path=ppt/slides/_rels/slide14.xml.rels><?xml version="1.0" encoding="UTF-8" standalone="yes"?>
<Relationships xmlns="http://schemas.openxmlformats.org/package/2006/relationships"><Relationship Id="rId9" Type="http://schemas.openxmlformats.org/officeDocument/2006/relationships/image" Target="../media/image49.png"/><Relationship Id="rId8" Type="http://schemas.openxmlformats.org/officeDocument/2006/relationships/image" Target="../media/image48.png"/><Relationship Id="rId7" Type="http://schemas.openxmlformats.org/officeDocument/2006/relationships/image" Target="../media/image47.png"/><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3" Type="http://schemas.openxmlformats.org/officeDocument/2006/relationships/image" Target="../media/image43.png"/><Relationship Id="rId2" Type="http://schemas.openxmlformats.org/officeDocument/2006/relationships/image" Target="../media/image42.png"/><Relationship Id="rId14" Type="http://schemas.openxmlformats.org/officeDocument/2006/relationships/notesSlide" Target="../notesSlides/notesSlide12.xml"/><Relationship Id="rId13" Type="http://schemas.openxmlformats.org/officeDocument/2006/relationships/slideLayout" Target="../slideLayouts/slideLayout11.xml"/><Relationship Id="rId12" Type="http://schemas.microsoft.com/office/2007/relationships/hdphoto" Target="../media/image34.wdp"/><Relationship Id="rId11" Type="http://schemas.openxmlformats.org/officeDocument/2006/relationships/image" Target="../media/image33.png"/><Relationship Id="rId10" Type="http://schemas.openxmlformats.org/officeDocument/2006/relationships/image" Target="../media/image50.png"/><Relationship Id="rId1" Type="http://schemas.openxmlformats.org/officeDocument/2006/relationships/image" Target="../media/image41.png"/></Relationships>
</file>

<file path=ppt/slides/_rels/slide15.xml.rels><?xml version="1.0" encoding="UTF-8" standalone="yes"?>
<Relationships xmlns="http://schemas.openxmlformats.org/package/2006/relationships"><Relationship Id="rId7" Type="http://schemas.openxmlformats.org/officeDocument/2006/relationships/notesSlide" Target="../notesSlides/notesSlide13.xml"/><Relationship Id="rId6" Type="http://schemas.openxmlformats.org/officeDocument/2006/relationships/slideLayout" Target="../slideLayouts/slideLayout11.xml"/><Relationship Id="rId5" Type="http://schemas.openxmlformats.org/officeDocument/2006/relationships/image" Target="../media/image35.jpeg"/><Relationship Id="rId4" Type="http://schemas.openxmlformats.org/officeDocument/2006/relationships/image" Target="../media/image54.jpeg"/><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image" Target="../media/image51.pn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4.xml"/><Relationship Id="rId7"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59.png"/><Relationship Id="rId4" Type="http://schemas.openxmlformats.org/officeDocument/2006/relationships/image" Target="../media/image58.png"/><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image" Target="../media/image55.jpeg"/></Relationships>
</file>

<file path=ppt/slides/_rels/slide17.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image" Target="../media/image66.png"/><Relationship Id="rId7" Type="http://schemas.openxmlformats.org/officeDocument/2006/relationships/image" Target="../media/image65.png"/><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3" Type="http://schemas.openxmlformats.org/officeDocument/2006/relationships/image" Target="../media/image61.png"/><Relationship Id="rId2" Type="http://schemas.openxmlformats.org/officeDocument/2006/relationships/image" Target="../media/image60.png"/><Relationship Id="rId10" Type="http://schemas.openxmlformats.org/officeDocument/2006/relationships/notesSlide" Target="../notesSlides/notesSlide15.xml"/><Relationship Id="rId1" Type="http://schemas.openxmlformats.org/officeDocument/2006/relationships/image" Target="../media/image13.png"/></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vmlDrawing" Target="../drawings/vmlDrawing2.vml"/><Relationship Id="rId6" Type="http://schemas.openxmlformats.org/officeDocument/2006/relationships/slideLayout" Target="../slideLayouts/slideLayout12.xml"/><Relationship Id="rId5" Type="http://schemas.openxmlformats.org/officeDocument/2006/relationships/tags" Target="../tags/tag3.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image" Target="../media/image12.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image" Target="../media/image13.png"/></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hemeOverride" Target="../theme/themeOverride1.xml"/><Relationship Id="rId2" Type="http://schemas.openxmlformats.org/officeDocument/2006/relationships/image" Target="../media/image15.png"/><Relationship Id="rId1" Type="http://schemas.openxmlformats.org/officeDocument/2006/relationships/image" Target="../media/image14.png"/></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slides/_rels/slide9.xml.rels><?xml version="1.0" encoding="UTF-8" standalone="yes"?>
<Relationships xmlns="http://schemas.openxmlformats.org/package/2006/relationships"><Relationship Id="rId9" Type="http://schemas.openxmlformats.org/officeDocument/2006/relationships/image" Target="../media/image4.svg"/><Relationship Id="rId8" Type="http://schemas.openxmlformats.org/officeDocument/2006/relationships/image" Target="../media/image25.png"/><Relationship Id="rId7" Type="http://schemas.openxmlformats.org/officeDocument/2006/relationships/image" Target="../media/image3.svg"/><Relationship Id="rId6" Type="http://schemas.openxmlformats.org/officeDocument/2006/relationships/image" Target="../media/image24.png"/><Relationship Id="rId5" Type="http://schemas.openxmlformats.org/officeDocument/2006/relationships/image" Target="../media/image2.svg"/><Relationship Id="rId4" Type="http://schemas.openxmlformats.org/officeDocument/2006/relationships/image" Target="../media/image23.png"/><Relationship Id="rId3" Type="http://schemas.openxmlformats.org/officeDocument/2006/relationships/image" Target="../media/image1.svg"/><Relationship Id="rId2" Type="http://schemas.openxmlformats.org/officeDocument/2006/relationships/image" Target="../media/image22.png"/><Relationship Id="rId11" Type="http://schemas.openxmlformats.org/officeDocument/2006/relationships/slideLayout" Target="../slideLayouts/slideLayout2.xml"/><Relationship Id="rId10" Type="http://schemas.openxmlformats.org/officeDocument/2006/relationships/image" Target="../media/image26.png"/><Relationship Id="rId1"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uinhv\Downloads\shutterstock_471830150.jpg"/>
          <p:cNvPicPr>
            <a:picLocks noChangeAspect="1" noChangeArrowheads="1"/>
          </p:cNvPicPr>
          <p:nvPr/>
        </p:nvPicPr>
        <p:blipFill rotWithShape="1">
          <a:blip r:embed="rId1" cstate="print"/>
          <a:srcRect l="4751" t="2472" b="17161"/>
          <a:stretch>
            <a:fillRect/>
          </a:stretch>
        </p:blipFill>
        <p:spPr bwMode="auto">
          <a:xfrm>
            <a:off x="0" y="-1"/>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10" name="Retângulo 11"/>
          <p:cNvSpPr/>
          <p:nvPr/>
        </p:nvSpPr>
        <p:spPr>
          <a:xfrm>
            <a:off x="4856480" y="2448560"/>
            <a:ext cx="3975560" cy="2429466"/>
          </a:xfrm>
          <a:prstGeom prst="rect">
            <a:avLst/>
          </a:prstGeom>
          <a:solidFill>
            <a:srgbClr val="68B02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11" name="Retângulo 9"/>
          <p:cNvSpPr/>
          <p:nvPr/>
        </p:nvSpPr>
        <p:spPr>
          <a:xfrm>
            <a:off x="5140960" y="2753359"/>
            <a:ext cx="3424483" cy="1840021"/>
          </a:xfrm>
          <a:prstGeom prst="rect">
            <a:avLst/>
          </a:prstGeom>
          <a:solidFill>
            <a:srgbClr val="FFFFFF">
              <a:alpha val="8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black"/>
              </a:solidFill>
            </a:endParaRPr>
          </a:p>
        </p:txBody>
      </p:sp>
      <p:sp>
        <p:nvSpPr>
          <p:cNvPr id="12" name="Espace réservé du texte 8"/>
          <p:cNvSpPr txBox="1"/>
          <p:nvPr/>
        </p:nvSpPr>
        <p:spPr bwMode="auto">
          <a:xfrm>
            <a:off x="5381522" y="3810517"/>
            <a:ext cx="295983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lstStyle>
            <a:lvl1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1pPr>
            <a:lvl2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2pPr>
            <a:lvl3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3pPr>
            <a:lvl4pPr marL="0" indent="0" algn="l" rtl="0" eaLnBrk="0" fontAlgn="base" hangingPunct="0">
              <a:spcBef>
                <a:spcPct val="20000"/>
              </a:spcBef>
              <a:spcAft>
                <a:spcPts val="300"/>
              </a:spcAft>
              <a:buFont typeface="Arial" panose="020B0604020202020204" pitchFamily="34" charset="0"/>
              <a:buNone/>
              <a:defRPr lang="fr-FR" sz="2800" b="0" i="1" kern="1200" smtClean="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4pPr>
            <a:lvl5pPr marL="0" indent="0" algn="l" rtl="0" eaLnBrk="0" fontAlgn="base" hangingPunct="0">
              <a:spcBef>
                <a:spcPct val="20000"/>
              </a:spcBef>
              <a:spcAft>
                <a:spcPts val="300"/>
              </a:spcAft>
              <a:buFont typeface="Arial" panose="020B0604020202020204" pitchFamily="34" charset="0"/>
              <a:buNone/>
              <a:defRPr lang="fr-FR" sz="2800" b="0" i="1" kern="1200">
                <a:solidFill>
                  <a:srgbClr val="757983"/>
                </a:solidFill>
                <a:latin typeface="Times New Roman" panose="02020603050405020304" pitchFamily="18" charset="0"/>
                <a:ea typeface="MS PGothic" panose="020B0600070205080204" pitchFamily="34" charset="-128"/>
                <a:cs typeface="Times New Roman" panose="02020603050405020304" pitchFamily="18" charset="0"/>
              </a:defRPr>
            </a:lvl5pPr>
            <a:lvl6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6pPr>
            <a:lvl7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7pPr>
            <a:lvl8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8pPr>
            <a:lvl9pPr marL="92075" indent="-10795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9pPr>
          </a:lstStyle>
          <a:p>
            <a:r>
              <a:rPr lang="en-US" sz="2400" dirty="0" err="1" smtClean="0">
                <a:solidFill>
                  <a:srgbClr val="68B022"/>
                </a:solidFill>
              </a:rPr>
              <a:t>Introdução</a:t>
            </a:r>
            <a:endParaRPr lang="en-US" sz="2400" dirty="0">
              <a:solidFill>
                <a:srgbClr val="68B022"/>
              </a:solidFill>
            </a:endParaRPr>
          </a:p>
        </p:txBody>
      </p:sp>
      <p:sp>
        <p:nvSpPr>
          <p:cNvPr id="13" name="Titel 3"/>
          <p:cNvSpPr txBox="1"/>
          <p:nvPr/>
        </p:nvSpPr>
        <p:spPr bwMode="gray">
          <a:xfrm>
            <a:off x="5344160" y="3180079"/>
            <a:ext cx="3140083" cy="64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lstStyle>
            <a:lvl1pPr algn="l" rtl="0" eaLnBrk="0" fontAlgn="base" hangingPunct="0">
              <a:lnSpc>
                <a:spcPct val="80000"/>
              </a:lnSpc>
              <a:spcBef>
                <a:spcPct val="0"/>
              </a:spcBef>
              <a:spcAft>
                <a:spcPct val="0"/>
              </a:spcAft>
              <a:defRPr lang="fr-FR" sz="3400" kern="1200" dirty="0">
                <a:solidFill>
                  <a:srgbClr val="003A81"/>
                </a:solidFill>
                <a:latin typeface="+mj-lt"/>
                <a:ea typeface="MS PGothic" panose="020B0600070205080204" pitchFamily="34" charset="-128"/>
                <a:cs typeface="MS PGothic" panose="020B0600070205080204" pitchFamily="34" charset="-128"/>
              </a:defRPr>
            </a:lvl1pPr>
            <a:lvl2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algn="l" rtl="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457200" algn="l" rtl="0" fontAlgn="base">
              <a:spcBef>
                <a:spcPct val="0"/>
              </a:spcBef>
              <a:spcAft>
                <a:spcPct val="0"/>
              </a:spcAft>
              <a:defRPr sz="2200">
                <a:solidFill>
                  <a:schemeClr val="tx1"/>
                </a:solidFill>
                <a:latin typeface="Arial" panose="020B0604020202020204" pitchFamily="34" charset="0"/>
              </a:defRPr>
            </a:lvl6pPr>
            <a:lvl7pPr marL="914400" algn="l" rtl="0" fontAlgn="base">
              <a:spcBef>
                <a:spcPct val="0"/>
              </a:spcBef>
              <a:spcAft>
                <a:spcPct val="0"/>
              </a:spcAft>
              <a:defRPr sz="2200">
                <a:solidFill>
                  <a:schemeClr val="tx1"/>
                </a:solidFill>
                <a:latin typeface="Arial" panose="020B0604020202020204" pitchFamily="34" charset="0"/>
              </a:defRPr>
            </a:lvl7pPr>
            <a:lvl8pPr marL="1371600" algn="l" rtl="0" fontAlgn="base">
              <a:spcBef>
                <a:spcPct val="0"/>
              </a:spcBef>
              <a:spcAft>
                <a:spcPct val="0"/>
              </a:spcAft>
              <a:defRPr sz="2200">
                <a:solidFill>
                  <a:schemeClr val="tx1"/>
                </a:solidFill>
                <a:latin typeface="Arial" panose="020B0604020202020204" pitchFamily="34" charset="0"/>
              </a:defRPr>
            </a:lvl8pPr>
            <a:lvl9pPr marL="1828800" algn="l" rtl="0" fontAlgn="base">
              <a:spcBef>
                <a:spcPct val="0"/>
              </a:spcBef>
              <a:spcAft>
                <a:spcPct val="0"/>
              </a:spcAft>
              <a:defRPr sz="2200">
                <a:solidFill>
                  <a:schemeClr val="tx1"/>
                </a:solidFill>
                <a:latin typeface="Arial" panose="020B0604020202020204" pitchFamily="34" charset="0"/>
              </a:defRPr>
            </a:lvl9pPr>
          </a:lstStyle>
          <a:p>
            <a:pPr>
              <a:lnSpc>
                <a:spcPct val="85000"/>
              </a:lnSpc>
            </a:pPr>
            <a:r>
              <a:rPr lang="en-US" b="1" dirty="0" err="1" smtClean="0">
                <a:solidFill>
                  <a:srgbClr val="68B022"/>
                </a:solidFill>
              </a:rPr>
              <a:t>Foodflow</a:t>
            </a:r>
            <a:r>
              <a:rPr lang="en-US" b="1" dirty="0">
                <a:solidFill>
                  <a:srgbClr val="68B022"/>
                </a:solidFill>
              </a:rPr>
              <a:t>®</a:t>
            </a:r>
            <a:endParaRPr lang="en-US" b="1" dirty="0">
              <a:solidFill>
                <a:srgbClr val="68B022"/>
              </a:solidFill>
            </a:endParaRPr>
          </a:p>
        </p:txBody>
      </p:sp>
      <p:cxnSp>
        <p:nvCxnSpPr>
          <p:cNvPr id="14" name="Connecteur droit 13"/>
          <p:cNvCxnSpPr/>
          <p:nvPr/>
        </p:nvCxnSpPr>
        <p:spPr>
          <a:xfrm>
            <a:off x="5398456" y="4356449"/>
            <a:ext cx="576000" cy="0"/>
          </a:xfrm>
          <a:prstGeom prst="line">
            <a:avLst/>
          </a:prstGeom>
          <a:ln w="47625">
            <a:solidFill>
              <a:srgbClr val="68B022"/>
            </a:solidFill>
          </a:ln>
        </p:spPr>
        <p:style>
          <a:lnRef idx="1">
            <a:schemeClr val="accent1"/>
          </a:lnRef>
          <a:fillRef idx="0">
            <a:schemeClr val="accent1"/>
          </a:fillRef>
          <a:effectRef idx="0">
            <a:schemeClr val="accent1"/>
          </a:effectRef>
          <a:fontRef idx="minor">
            <a:schemeClr val="tx1"/>
          </a:fontRef>
        </p:style>
      </p:cxnSp>
      <p:pic>
        <p:nvPicPr>
          <p:cNvPr id="2" name="Imagem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32663" y="277080"/>
            <a:ext cx="1599377" cy="431535"/>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2430952" y="2426491"/>
            <a:ext cx="1439912" cy="2096512"/>
          </a:xfrm>
          <a:prstGeom prst="rect">
            <a:avLst/>
          </a:prstGeom>
        </p:spPr>
      </p:pic>
      <p:sp>
        <p:nvSpPr>
          <p:cNvPr id="2" name="Titre 1"/>
          <p:cNvSpPr>
            <a:spLocks noGrp="1"/>
          </p:cNvSpPr>
          <p:nvPr>
            <p:ph type="title"/>
          </p:nvPr>
        </p:nvSpPr>
        <p:spPr>
          <a:noFill/>
          <a:ln>
            <a:noFill/>
          </a:ln>
        </p:spPr>
        <p:txBody>
          <a:bodyPr vert="horz" wrap="square" lIns="0" tIns="0" rIns="0" bIns="0" numCol="1" anchor="ctr" anchorCtr="0" compatLnSpc="1"/>
          <a:lstStyle/>
          <a:p>
            <a:r>
              <a:rPr lang="de-DE" dirty="0"/>
              <a:t>Foodflow</a:t>
            </a:r>
            <a:r>
              <a:rPr lang="en-US" baseline="30000" dirty="0">
                <a:solidFill>
                  <a:prstClr val="black"/>
                </a:solidFill>
              </a:rPr>
              <a:t>®</a:t>
            </a:r>
            <a:endParaRPr lang="fr-FR" dirty="0"/>
          </a:p>
        </p:txBody>
      </p:sp>
      <p:sp>
        <p:nvSpPr>
          <p:cNvPr id="3" name="Espace réservé du numéro de diapositive 2"/>
          <p:cNvSpPr>
            <a:spLocks noGrp="1"/>
          </p:cNvSpPr>
          <p:nvPr>
            <p:ph type="sldNum" sz="quarter" idx="12"/>
          </p:nvPr>
        </p:nvSpPr>
        <p:spPr/>
        <p:txBody>
          <a:bodyPr/>
          <a:lstStyle/>
          <a:p>
            <a:fld id="{8AD48C63-78A6-4D64-B839-4870EFEB9C13}" type="slidenum">
              <a:rPr lang="de-DE" smtClean="0">
                <a:solidFill>
                  <a:srgbClr val="A8A09E"/>
                </a:solidFill>
              </a:rPr>
            </a:fld>
            <a:endParaRPr lang="de-DE">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lstStyle/>
          <a:p>
            <a:r>
              <a:rPr lang="fr-FR" dirty="0">
                <a:solidFill>
                  <a:srgbClr val="FF0066"/>
                </a:solidFill>
              </a:rPr>
              <a:t>Ao vivo!</a:t>
            </a:r>
            <a:endParaRPr lang="fr-FR" dirty="0">
              <a:solidFill>
                <a:srgbClr val="FF0066"/>
              </a:solidFill>
            </a:endParaRPr>
          </a:p>
        </p:txBody>
      </p:sp>
      <p:sp>
        <p:nvSpPr>
          <p:cNvPr id="15" name="Rectangle 14"/>
          <p:cNvSpPr/>
          <p:nvPr/>
        </p:nvSpPr>
        <p:spPr>
          <a:xfrm>
            <a:off x="457200"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pic>
        <p:nvPicPr>
          <p:cNvPr id="10" name="Image 9" descr="Une image contenant texte&#10;&#10;Description générée automatiquemen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89176" y="1483919"/>
            <a:ext cx="954595" cy="1400073"/>
          </a:xfrm>
          <a:prstGeom prst="rect">
            <a:avLst/>
          </a:prstGeom>
        </p:spPr>
      </p:pic>
      <p:pic>
        <p:nvPicPr>
          <p:cNvPr id="12" name="Image 11" descr="Une image contenant texte&#10;&#10;Description générée automatiquement"/>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3059" y="1463095"/>
            <a:ext cx="963893" cy="1601348"/>
          </a:xfrm>
          <a:prstGeom prst="rect">
            <a:avLst/>
          </a:prstGeom>
        </p:spPr>
      </p:pic>
      <p:pic>
        <p:nvPicPr>
          <p:cNvPr id="14" name="Image 13" descr="Une image contenant texte&#10;&#10;Description générée automatiquemen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3419" y="2952305"/>
            <a:ext cx="954595" cy="1583355"/>
          </a:xfrm>
          <a:prstGeom prst="rect">
            <a:avLst/>
          </a:prstGeom>
        </p:spPr>
      </p:pic>
      <p:pic>
        <p:nvPicPr>
          <p:cNvPr id="17" name="Image 16" descr="Une image contenant texte&#10;&#10;Description générée automatiquemen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8902" y="2943150"/>
            <a:ext cx="963893" cy="1583356"/>
          </a:xfrm>
          <a:prstGeom prst="rect">
            <a:avLst/>
          </a:prstGeom>
        </p:spPr>
      </p:pic>
      <p:cxnSp>
        <p:nvCxnSpPr>
          <p:cNvPr id="20" name="Connecteur droit avec flèche 19"/>
          <p:cNvCxnSpPr/>
          <p:nvPr/>
        </p:nvCxnSpPr>
        <p:spPr>
          <a:xfrm flipH="1" flipV="1">
            <a:off x="1920105" y="2946322"/>
            <a:ext cx="584437" cy="1075250"/>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cxnSp>
        <p:nvCxnSpPr>
          <p:cNvPr id="23" name="Connecteur droit avec flèche 22"/>
          <p:cNvCxnSpPr/>
          <p:nvPr/>
        </p:nvCxnSpPr>
        <p:spPr>
          <a:xfrm flipH="1" flipV="1">
            <a:off x="1568014" y="3903159"/>
            <a:ext cx="956012" cy="486714"/>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cxnSp>
        <p:nvCxnSpPr>
          <p:cNvPr id="26" name="Connecteur droit avec flèche 25"/>
          <p:cNvCxnSpPr/>
          <p:nvPr/>
        </p:nvCxnSpPr>
        <p:spPr>
          <a:xfrm flipV="1">
            <a:off x="3777792" y="2883991"/>
            <a:ext cx="867265" cy="1086689"/>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cxnSp>
        <p:nvCxnSpPr>
          <p:cNvPr id="31" name="Connecteur droit avec flèche 30"/>
          <p:cNvCxnSpPr/>
          <p:nvPr/>
        </p:nvCxnSpPr>
        <p:spPr>
          <a:xfrm flipV="1">
            <a:off x="3808431" y="3970680"/>
            <a:ext cx="1692109" cy="398881"/>
          </a:xfrm>
          <a:prstGeom prst="straightConnector1">
            <a:avLst/>
          </a:prstGeom>
          <a:ln w="28575">
            <a:solidFill>
              <a:srgbClr val="68B222"/>
            </a:solidFill>
            <a:tailEnd type="triangle"/>
          </a:ln>
        </p:spPr>
        <p:style>
          <a:lnRef idx="1">
            <a:schemeClr val="accent6"/>
          </a:lnRef>
          <a:fillRef idx="0">
            <a:schemeClr val="accent6"/>
          </a:fillRef>
          <a:effectRef idx="0">
            <a:schemeClr val="accent6"/>
          </a:effectRef>
          <a:fontRef idx="minor">
            <a:schemeClr val="tx1"/>
          </a:fontRef>
        </p:style>
      </p:cxnSp>
      <p:pic>
        <p:nvPicPr>
          <p:cNvPr id="7" name="Image 6"/>
          <p:cNvPicPr>
            <a:picLocks noChangeAspect="1"/>
          </p:cNvPicPr>
          <p:nvPr/>
        </p:nvPicPr>
        <p:blipFill rotWithShape="1">
          <a:blip r:embed="rId6" cstate="print">
            <a:extLst>
              <a:ext uri="{28A0092B-C50C-407E-A947-70E740481C1C}">
                <a14:useLocalDpi xmlns:a14="http://schemas.microsoft.com/office/drawing/2010/main" val="0"/>
              </a:ext>
            </a:extLst>
          </a:blip>
          <a:srcRect t="22802" b="16013"/>
          <a:stretch>
            <a:fillRect/>
          </a:stretch>
        </p:blipFill>
        <p:spPr>
          <a:xfrm>
            <a:off x="6694744" y="1816970"/>
            <a:ext cx="1884142" cy="2494945"/>
          </a:xfrm>
          <a:prstGeom prst="rect">
            <a:avLst/>
          </a:prstGeom>
        </p:spPr>
      </p:pic>
      <p:pic>
        <p:nvPicPr>
          <p:cNvPr id="24" name="Imagem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15941" y="1543296"/>
            <a:ext cx="1069931" cy="782673"/>
          </a:xfrm>
          <a:prstGeom prst="rect">
            <a:avLst/>
          </a:prstGeom>
          <a:noFill/>
          <a:ln>
            <a:solidFill>
              <a:schemeClr val="accent6">
                <a:lumMod val="75000"/>
              </a:schemeClr>
            </a:solidFill>
          </a:ln>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lstStyle/>
          <a:p>
            <a:r>
              <a:rPr lang="fr-FR" dirty="0">
                <a:solidFill>
                  <a:srgbClr val="FF0066"/>
                </a:solidFill>
              </a:rPr>
              <a:t>Soluções da Future Tech</a:t>
            </a:r>
            <a:endParaRPr lang="fr-FR" dirty="0">
              <a:solidFill>
                <a:srgbClr val="FF0066"/>
              </a:solidFill>
            </a:endParaRP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fld>
            <a:endParaRPr lang="de-DE" altLang="fr-FR" dirty="0"/>
          </a:p>
        </p:txBody>
      </p:sp>
      <p:sp>
        <p:nvSpPr>
          <p:cNvPr id="11" name="Rectangle 10"/>
          <p:cNvSpPr/>
          <p:nvPr/>
        </p:nvSpPr>
        <p:spPr>
          <a:xfrm>
            <a:off x="457202" y="1159497"/>
            <a:ext cx="5674659" cy="3450210"/>
          </a:xfrm>
          <a:prstGeom prst="rect">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sp>
        <p:nvSpPr>
          <p:cNvPr id="13" name="Rectangle 12"/>
          <p:cNvSpPr/>
          <p:nvPr/>
        </p:nvSpPr>
        <p:spPr>
          <a:xfrm>
            <a:off x="457205" y="1204828"/>
            <a:ext cx="5674656" cy="941796"/>
          </a:xfrm>
          <a:prstGeom prst="rect">
            <a:avLst/>
          </a:prstGeom>
        </p:spPr>
        <p:txBody>
          <a:bodyPr wrap="square">
            <a:spAutoFit/>
          </a:bodyPr>
          <a:lstStyle/>
          <a:p>
            <a:pPr algn="ctr">
              <a:lnSpc>
                <a:spcPct val="120000"/>
              </a:lnSpc>
            </a:pPr>
            <a:r>
              <a:rPr lang="pt-BR" sz="1400" i="1" dirty="0">
                <a:latin typeface="Times New Roman" panose="02020603050405020304" pitchFamily="18" charset="0"/>
                <a:cs typeface="Times New Roman" panose="02020603050405020304" pitchFamily="18" charset="0"/>
              </a:rPr>
              <a:t>Desenvolvemos </a:t>
            </a:r>
            <a:r>
              <a:rPr lang="pt-BR" sz="1400" i="1" dirty="0" smtClean="0">
                <a:latin typeface="Times New Roman" panose="02020603050405020304" pitchFamily="18" charset="0"/>
                <a:cs typeface="Times New Roman" panose="02020603050405020304" pitchFamily="18" charset="0"/>
              </a:rPr>
              <a:t>uma</a:t>
            </a:r>
            <a:endParaRPr lang="pt-BR" sz="1400" i="1" dirty="0" smtClean="0">
              <a:latin typeface="Times New Roman" panose="02020603050405020304" pitchFamily="18" charset="0"/>
              <a:cs typeface="Times New Roman" panose="02020603050405020304" pitchFamily="18" charset="0"/>
            </a:endParaRPr>
          </a:p>
          <a:p>
            <a:pPr algn="ctr">
              <a:lnSpc>
                <a:spcPct val="120000"/>
              </a:lnSpc>
            </a:pPr>
            <a:r>
              <a:rPr lang="pt-BR" sz="1400" i="1" dirty="0" smtClean="0">
                <a:latin typeface="Times New Roman" panose="02020603050405020304" pitchFamily="18" charset="0"/>
                <a:cs typeface="Times New Roman" panose="02020603050405020304" pitchFamily="18" charset="0"/>
              </a:rPr>
              <a:t>solução </a:t>
            </a:r>
            <a:r>
              <a:rPr lang="pt-BR" sz="1600" b="1" i="1" dirty="0" smtClean="0">
                <a:latin typeface="Times New Roman" panose="02020603050405020304" pitchFamily="18" charset="0"/>
                <a:cs typeface="Times New Roman" panose="02020603050405020304" pitchFamily="18" charset="0"/>
              </a:rPr>
              <a:t>única</a:t>
            </a:r>
            <a:r>
              <a:rPr lang="pt-BR" sz="1400" i="1" dirty="0" smtClean="0">
                <a:latin typeface="Times New Roman" panose="02020603050405020304" pitchFamily="18" charset="0"/>
                <a:cs typeface="Times New Roman" panose="02020603050405020304" pitchFamily="18" charset="0"/>
              </a:rPr>
              <a:t> </a:t>
            </a:r>
            <a:r>
              <a:rPr lang="pt-BR" sz="1400" i="1" dirty="0">
                <a:latin typeface="Times New Roman" panose="02020603050405020304" pitchFamily="18" charset="0"/>
                <a:cs typeface="Times New Roman" panose="02020603050405020304" pitchFamily="18" charset="0"/>
              </a:rPr>
              <a:t>e </a:t>
            </a:r>
            <a:r>
              <a:rPr lang="pt-BR" sz="1600" b="1" i="1" dirty="0">
                <a:latin typeface="Times New Roman" panose="02020603050405020304" pitchFamily="18" charset="0"/>
                <a:cs typeface="Times New Roman" panose="02020603050405020304" pitchFamily="18" charset="0"/>
              </a:rPr>
              <a:t>ecologicament</a:t>
            </a:r>
            <a:r>
              <a:rPr lang="pt-BR" sz="1600" i="1" dirty="0">
                <a:latin typeface="Times New Roman" panose="02020603050405020304" pitchFamily="18" charset="0"/>
                <a:cs typeface="Times New Roman" panose="02020603050405020304" pitchFamily="18" charset="0"/>
              </a:rPr>
              <a:t>e</a:t>
            </a:r>
            <a:r>
              <a:rPr lang="pt-BR" sz="1400" i="1" dirty="0">
                <a:latin typeface="Times New Roman" panose="02020603050405020304" pitchFamily="18" charset="0"/>
                <a:cs typeface="Times New Roman" panose="02020603050405020304" pitchFamily="18" charset="0"/>
              </a:rPr>
              <a:t> responsável </a:t>
            </a:r>
            <a:r>
              <a:rPr lang="pt-BR" sz="1400" i="1" dirty="0" smtClean="0">
                <a:latin typeface="Times New Roman" panose="02020603050405020304" pitchFamily="18" charset="0"/>
                <a:cs typeface="Times New Roman" panose="02020603050405020304" pitchFamily="18" charset="0"/>
              </a:rPr>
              <a:t>que atribui </a:t>
            </a:r>
            <a:r>
              <a:rPr lang="pt-BR" sz="1600" b="1" i="1" dirty="0" smtClean="0">
                <a:latin typeface="Times New Roman" panose="02020603050405020304" pitchFamily="18" charset="0"/>
                <a:cs typeface="Times New Roman" panose="02020603050405020304" pitchFamily="18" charset="0"/>
              </a:rPr>
              <a:t>alto valor ao alimento </a:t>
            </a:r>
            <a:r>
              <a:rPr lang="pt-BR" sz="1400" i="1" dirty="0" smtClean="0">
                <a:latin typeface="Times New Roman" panose="02020603050405020304" pitchFamily="18" charset="0"/>
                <a:cs typeface="Times New Roman" panose="02020603050405020304" pitchFamily="18" charset="0"/>
              </a:rPr>
              <a:t>e contribui para </a:t>
            </a:r>
            <a:r>
              <a:rPr lang="pt-BR" sz="1600" b="1" i="1" dirty="0" smtClean="0">
                <a:latin typeface="Times New Roman" panose="02020603050405020304" pitchFamily="18" charset="0"/>
                <a:cs typeface="Times New Roman" panose="02020603050405020304" pitchFamily="18" charset="0"/>
              </a:rPr>
              <a:t>redução do desperdício</a:t>
            </a:r>
            <a:endParaRPr lang="en-US" sz="1600" b="1" i="1" dirty="0">
              <a:latin typeface="Times New Roman" panose="02020603050405020304" pitchFamily="18" charset="0"/>
              <a:cs typeface="Times New Roman" panose="02020603050405020304" pitchFamily="18" charset="0"/>
            </a:endParaRPr>
          </a:p>
        </p:txBody>
      </p:sp>
      <p:graphicFrame>
        <p:nvGraphicFramePr>
          <p:cNvPr id="22" name="Tableau 21"/>
          <p:cNvGraphicFramePr>
            <a:graphicFrameLocks noGrp="1"/>
          </p:cNvGraphicFramePr>
          <p:nvPr/>
        </p:nvGraphicFramePr>
        <p:xfrm>
          <a:off x="962108" y="2146624"/>
          <a:ext cx="3535839" cy="2156928"/>
        </p:xfrm>
        <a:graphic>
          <a:graphicData uri="http://schemas.openxmlformats.org/drawingml/2006/table">
            <a:tbl>
              <a:tblPr>
                <a:tableStyleId>{5C22544A-7EE6-4342-B048-85BDC9FD1C3A}</a:tableStyleId>
              </a:tblPr>
              <a:tblGrid>
                <a:gridCol w="3535839"/>
              </a:tblGrid>
              <a:tr h="554631">
                <a:tc>
                  <a:txBody>
                    <a:bodyPr/>
                    <a:lstStyle/>
                    <a:p>
                      <a:pPr marL="87630" indent="0" algn="l" fontAlgn="b"/>
                      <a:r>
                        <a:rPr lang="fr-FR" sz="1400" b="1" u="none" strike="noStrike" dirty="0" smtClean="0">
                          <a:solidFill>
                            <a:schemeClr val="bg1"/>
                          </a:solidFill>
                          <a:effectLst/>
                        </a:rPr>
                        <a:t>1. </a:t>
                      </a:r>
                      <a:r>
                        <a:rPr lang="fr-FR" sz="1400" b="1" u="none" strike="noStrike" dirty="0" smtClean="0">
                          <a:solidFill>
                            <a:schemeClr val="tx1">
                              <a:lumMod val="75000"/>
                              <a:lumOff val="25000"/>
                            </a:schemeClr>
                          </a:solidFill>
                          <a:effectLst/>
                        </a:rPr>
                        <a:t>SUSTENTABILIDADE</a:t>
                      </a:r>
                      <a:br>
                        <a:rPr lang="fr-FR" sz="1400" b="1" u="none" strike="noStrike" dirty="0" smtClean="0">
                          <a:solidFill>
                            <a:schemeClr val="tx1">
                              <a:lumMod val="75000"/>
                              <a:lumOff val="25000"/>
                            </a:schemeClr>
                          </a:solidFill>
                          <a:effectLst/>
                        </a:rPr>
                      </a:br>
                      <a:r>
                        <a:rPr lang="fr-FR" sz="1400" b="1" u="none" strike="noStrike" dirty="0" smtClean="0">
                          <a:solidFill>
                            <a:schemeClr val="bg1"/>
                          </a:solidFill>
                          <a:effectLst/>
                        </a:rPr>
                        <a:t>    </a:t>
                      </a:r>
                      <a:r>
                        <a:rPr lang="pt-BR" sz="1100" b="0" u="none" strike="noStrike" kern="1200" baseline="0" dirty="0" smtClean="0">
                          <a:solidFill>
                            <a:schemeClr val="bg1"/>
                          </a:solidFill>
                          <a:effectLst/>
                          <a:latin typeface="+mn-lt"/>
                          <a:ea typeface="+mn-ea"/>
                          <a:cs typeface="+mn-cs"/>
                        </a:rPr>
                        <a:t>Impacto positivo nas pessoas e no meio ambiente</a:t>
                      </a:r>
                      <a:endParaRPr lang="fr-FR" sz="1100" b="0" i="0" u="none" strike="noStrike" dirty="0">
                        <a:solidFill>
                          <a:schemeClr val="bg1"/>
                        </a:solidFill>
                        <a:effectLst/>
                        <a:latin typeface="Arial" panose="020B0604020202020204"/>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B022"/>
                    </a:solidFill>
                  </a:tcPr>
                </a:tc>
              </a:tr>
              <a:tr h="545284">
                <a:tc>
                  <a:txBody>
                    <a:bodyPr/>
                    <a:lstStyle/>
                    <a:p>
                      <a:pPr marL="87630" indent="0" algn="l" fontAlgn="b"/>
                      <a:r>
                        <a:rPr lang="fr-FR" sz="1400" b="1" u="none" strike="noStrike" dirty="0" smtClean="0">
                          <a:solidFill>
                            <a:schemeClr val="bg1"/>
                          </a:solidFill>
                          <a:effectLst/>
                        </a:rPr>
                        <a:t>2. </a:t>
                      </a:r>
                      <a:r>
                        <a:rPr lang="fr-FR" sz="1400" b="1" u="none" strike="noStrike" dirty="0" smtClean="0">
                          <a:solidFill>
                            <a:schemeClr val="tx1">
                              <a:lumMod val="75000"/>
                              <a:lumOff val="25000"/>
                            </a:schemeClr>
                          </a:solidFill>
                          <a:effectLst/>
                        </a:rPr>
                        <a:t>TRANSPARÊNCIA</a:t>
                      </a:r>
                      <a:br>
                        <a:rPr lang="fr-FR" sz="1400" b="1" u="none" strike="noStrike" dirty="0" smtClean="0">
                          <a:solidFill>
                            <a:schemeClr val="bg1"/>
                          </a:solidFill>
                          <a:effectLst/>
                        </a:rPr>
                      </a:br>
                      <a:r>
                        <a:rPr lang="fr-FR" sz="1400" b="1" u="none" strike="noStrike" dirty="0" smtClean="0">
                          <a:solidFill>
                            <a:schemeClr val="bg1"/>
                          </a:solidFill>
                          <a:effectLst/>
                        </a:rPr>
                        <a:t>    </a:t>
                      </a:r>
                      <a:r>
                        <a:rPr lang="fr-FR" sz="1200" b="0" u="none" strike="noStrike" dirty="0" smtClean="0">
                          <a:solidFill>
                            <a:schemeClr val="bg1"/>
                          </a:solidFill>
                          <a:effectLst/>
                        </a:rPr>
                        <a:t>No abastecimento</a:t>
                      </a:r>
                      <a:endParaRPr lang="fr-FR" sz="1200" b="0" i="0" u="none" strike="noStrike" dirty="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0D082"/>
                    </a:solidFill>
                  </a:tcPr>
                </a:tc>
              </a:tr>
              <a:tr h="536896">
                <a:tc>
                  <a:txBody>
                    <a:bodyPr/>
                    <a:lstStyle/>
                    <a:p>
                      <a:pPr marL="271780" marR="0" indent="-184150" algn="l" defTabSz="914400" rtl="0" eaLnBrk="1" fontAlgn="b" latinLnBrk="0" hangingPunct="1">
                        <a:lnSpc>
                          <a:spcPct val="100000"/>
                        </a:lnSpc>
                        <a:spcBef>
                          <a:spcPts val="0"/>
                        </a:spcBef>
                        <a:spcAft>
                          <a:spcPts val="0"/>
                        </a:spcAft>
                        <a:buClrTx/>
                        <a:buSzTx/>
                        <a:buFontTx/>
                        <a:buNone/>
                        <a:defRPr/>
                      </a:pPr>
                      <a:r>
                        <a:rPr lang="fr-FR" sz="1400" b="1" u="none" strike="noStrike" dirty="0" smtClean="0">
                          <a:solidFill>
                            <a:schemeClr val="bg1"/>
                          </a:solidFill>
                          <a:effectLst/>
                        </a:rPr>
                        <a:t>3. </a:t>
                      </a:r>
                      <a:r>
                        <a:rPr lang="fr-FR" sz="1400" b="1" u="none" strike="noStrike" kern="1200" dirty="0" smtClean="0">
                          <a:solidFill>
                            <a:schemeClr val="tx1">
                              <a:lumMod val="75000"/>
                              <a:lumOff val="25000"/>
                            </a:schemeClr>
                          </a:solidFill>
                          <a:effectLst/>
                          <a:latin typeface="+mn-lt"/>
                          <a:ea typeface="+mn-ea"/>
                          <a:cs typeface="+mn-cs"/>
                        </a:rPr>
                        <a:t>RASTREABILIDADE</a:t>
                      </a:r>
                      <a:br>
                        <a:rPr lang="fr-FR" sz="1400" b="1" u="none" strike="noStrike" dirty="0" smtClean="0">
                          <a:solidFill>
                            <a:schemeClr val="tx1">
                              <a:lumMod val="75000"/>
                              <a:lumOff val="25000"/>
                            </a:schemeClr>
                          </a:solidFill>
                          <a:effectLst/>
                        </a:rPr>
                      </a:br>
                      <a:r>
                        <a:rPr lang="fr-FR" sz="1200" b="0" i="0" u="none" strike="noStrike" dirty="0" smtClean="0">
                          <a:solidFill>
                            <a:schemeClr val="bg1"/>
                          </a:solidFill>
                          <a:effectLst/>
                          <a:latin typeface="+mn-lt"/>
                        </a:rPr>
                        <a:t>Valor</a:t>
                      </a:r>
                      <a:r>
                        <a:rPr lang="fr-FR" sz="1200" b="0" i="0" u="none" strike="noStrike" baseline="0" dirty="0" smtClean="0">
                          <a:solidFill>
                            <a:schemeClr val="bg1"/>
                          </a:solidFill>
                          <a:effectLst/>
                          <a:latin typeface="+mn-lt"/>
                        </a:rPr>
                        <a:t> para os alimento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C04"/>
                    </a:solidFill>
                  </a:tcPr>
                </a:tc>
              </a:tr>
              <a:tr h="520117">
                <a:tc>
                  <a:txBody>
                    <a:bodyPr/>
                    <a:lstStyle/>
                    <a:p>
                      <a:pPr marL="271780" marR="0" indent="-184150" algn="l" defTabSz="914400" rtl="0" eaLnBrk="1" fontAlgn="b" latinLnBrk="0" hangingPunct="1">
                        <a:lnSpc>
                          <a:spcPct val="100000"/>
                        </a:lnSpc>
                        <a:spcBef>
                          <a:spcPts val="0"/>
                        </a:spcBef>
                        <a:spcAft>
                          <a:spcPts val="0"/>
                        </a:spcAft>
                        <a:buClrTx/>
                        <a:buSzTx/>
                        <a:buFontTx/>
                        <a:buNone/>
                        <a:defRPr/>
                      </a:pPr>
                      <a:r>
                        <a:rPr lang="fr-FR" sz="1400" b="1" i="0" u="none" strike="noStrike" dirty="0" smtClean="0">
                          <a:solidFill>
                            <a:schemeClr val="bg1"/>
                          </a:solidFill>
                          <a:effectLst/>
                          <a:latin typeface="+mn-lt"/>
                        </a:rPr>
                        <a:t>4. </a:t>
                      </a:r>
                      <a:r>
                        <a:rPr lang="fr-FR" sz="1400" b="1" u="none" strike="noStrike" dirty="0" smtClean="0">
                          <a:solidFill>
                            <a:schemeClr val="tx1">
                              <a:lumMod val="75000"/>
                              <a:lumOff val="25000"/>
                            </a:schemeClr>
                          </a:solidFill>
                          <a:effectLst/>
                        </a:rPr>
                        <a:t>CONFORMIDADE</a:t>
                      </a:r>
                      <a:endParaRPr lang="fr-FR" sz="1400" b="1" u="none" strike="noStrike" kern="1200" dirty="0" smtClean="0">
                        <a:solidFill>
                          <a:schemeClr val="tx1">
                            <a:lumMod val="75000"/>
                            <a:lumOff val="25000"/>
                          </a:schemeClr>
                        </a:solidFill>
                        <a:effectLst/>
                        <a:latin typeface="+mn-lt"/>
                        <a:ea typeface="+mn-ea"/>
                        <a:cs typeface="+mn-cs"/>
                      </a:endParaRPr>
                    </a:p>
                    <a:p>
                      <a:pPr marL="271780" marR="0" indent="-184150" algn="l" defTabSz="914400" rtl="0" eaLnBrk="1" fontAlgn="b" latinLnBrk="0" hangingPunct="1">
                        <a:lnSpc>
                          <a:spcPct val="100000"/>
                        </a:lnSpc>
                        <a:spcBef>
                          <a:spcPts val="0"/>
                        </a:spcBef>
                        <a:spcAft>
                          <a:spcPts val="0"/>
                        </a:spcAft>
                        <a:buClrTx/>
                        <a:buSzTx/>
                        <a:buFontTx/>
                        <a:buNone/>
                        <a:defRPr/>
                      </a:pPr>
                      <a:r>
                        <a:rPr lang="fr-FR" sz="1200" b="0" i="0" u="none" strike="noStrike" dirty="0" smtClean="0">
                          <a:solidFill>
                            <a:schemeClr val="bg1"/>
                          </a:solidFill>
                          <a:effectLst/>
                          <a:latin typeface="+mn-lt"/>
                        </a:rPr>
                        <a:t>    com vários organismos certificadore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A679"/>
                    </a:solidFill>
                  </a:tcPr>
                </a:tc>
              </a:tr>
            </a:tbl>
          </a:graphicData>
        </a:graphic>
      </p:graphicFrame>
      <p:sp>
        <p:nvSpPr>
          <p:cNvPr id="23" name="Triangle isocèle 22"/>
          <p:cNvSpPr/>
          <p:nvPr/>
        </p:nvSpPr>
        <p:spPr>
          <a:xfrm rot="5400000">
            <a:off x="3780507" y="2936743"/>
            <a:ext cx="2255520" cy="563880"/>
          </a:xfrm>
          <a:prstGeom prst="triangle">
            <a:avLst>
              <a:gd name="adj" fmla="val 49470"/>
            </a:avLst>
          </a:prstGeom>
          <a:solidFill>
            <a:srgbClr val="DFDBD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10" name="Tableau 9"/>
          <p:cNvGraphicFramePr>
            <a:graphicFrameLocks noGrp="1"/>
          </p:cNvGraphicFramePr>
          <p:nvPr/>
        </p:nvGraphicFramePr>
        <p:xfrm>
          <a:off x="5306684" y="2292427"/>
          <a:ext cx="3261408" cy="1813906"/>
        </p:xfrm>
        <a:graphic>
          <a:graphicData uri="http://schemas.openxmlformats.org/drawingml/2006/table">
            <a:tbl>
              <a:tblPr>
                <a:tableStyleId>{5C22544A-7EE6-4342-B048-85BDC9FD1C3A}</a:tableStyleId>
              </a:tblPr>
              <a:tblGrid>
                <a:gridCol w="812902"/>
                <a:gridCol w="2448506"/>
              </a:tblGrid>
              <a:tr h="368804">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c>
                  <a:txBody>
                    <a:bodyPr/>
                    <a:lstStyle/>
                    <a:p>
                      <a:pPr lvl="0" algn="l" fontAlgn="b"/>
                      <a:endParaRPr lang="fr-FR" sz="1200" b="1" u="none" strike="noStrike" kern="1200" dirty="0">
                        <a:solidFill>
                          <a:srgbClr val="68B022"/>
                        </a:solidFill>
                        <a:effectLst/>
                        <a:latin typeface="+mj-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r>
              <a:tr h="361437">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r>
              <a:tr h="354071">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AE5"/>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AE5"/>
                    </a:solidFill>
                  </a:tcPr>
                </a:tc>
              </a:tr>
              <a:tr h="370757">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50196"/>
                      </a:schemeClr>
                    </a:solidFill>
                  </a:tcPr>
                </a:tc>
              </a:tr>
              <a:tr h="358837">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r>
            </a:tbl>
          </a:graphicData>
        </a:graphic>
      </p:graphicFrame>
      <p:pic>
        <p:nvPicPr>
          <p:cNvPr id="3" name="Imagem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812942" y="2414939"/>
            <a:ext cx="2197470" cy="1607488"/>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gner un rectangle à un seul coin 2"/>
          <p:cNvSpPr/>
          <p:nvPr/>
        </p:nvSpPr>
        <p:spPr>
          <a:xfrm>
            <a:off x="457198" y="1159498"/>
            <a:ext cx="8121649" cy="3450210"/>
          </a:xfrm>
          <a:prstGeom prst="snip1Rect">
            <a:avLst>
              <a:gd name="adj" fmla="val 6606"/>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lstStyle/>
          <a:p>
            <a:r>
              <a:rPr lang="fr-FR" dirty="0">
                <a:solidFill>
                  <a:srgbClr val="FF0066"/>
                </a:solidFill>
              </a:rPr>
              <a:t>Sustentabilidade em primeiro lugar!!</a:t>
            </a:r>
            <a:endParaRPr lang="fr-FR" dirty="0">
              <a:solidFill>
                <a:srgbClr val="FF0066"/>
              </a:solidFill>
            </a:endParaRP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fld>
            <a:endParaRPr lang="de-DE" altLang="fr-FR" dirty="0"/>
          </a:p>
        </p:txBody>
      </p:sp>
      <p:sp>
        <p:nvSpPr>
          <p:cNvPr id="13" name="Rectangle 12"/>
          <p:cNvSpPr/>
          <p:nvPr/>
        </p:nvSpPr>
        <p:spPr>
          <a:xfrm>
            <a:off x="457201" y="1405049"/>
            <a:ext cx="8121647" cy="350865"/>
          </a:xfrm>
          <a:prstGeom prst="rect">
            <a:avLst/>
          </a:prstGeom>
        </p:spPr>
        <p:txBody>
          <a:bodyPr wrap="square">
            <a:spAutoFit/>
          </a:bodyPr>
          <a:lstStyle/>
          <a:p>
            <a:pPr algn="ctr">
              <a:lnSpc>
                <a:spcPct val="120000"/>
              </a:lnSpc>
            </a:pPr>
            <a:r>
              <a:rPr lang="pt-BR" sz="1400" b="1" i="1" dirty="0" smtClean="0">
                <a:latin typeface="Times New Roman" panose="02020603050405020304" pitchFamily="18" charset="0"/>
                <a:cs typeface="Times New Roman" panose="02020603050405020304" pitchFamily="18" charset="0"/>
              </a:rPr>
              <a:t>Três impactos complementares </a:t>
            </a:r>
            <a:r>
              <a:rPr lang="pt-BR" sz="1400" b="1" i="1" dirty="0">
                <a:latin typeface="Times New Roman" panose="02020603050405020304" pitchFamily="18" charset="0"/>
                <a:cs typeface="Times New Roman" panose="02020603050405020304" pitchFamily="18" charset="0"/>
              </a:rPr>
              <a:t>da sustentabilidade</a:t>
            </a:r>
            <a:endParaRPr lang="en-US" sz="1200" b="1" i="1" dirty="0">
              <a:latin typeface="Times New Roman" panose="02020603050405020304" pitchFamily="18" charset="0"/>
              <a:cs typeface="Times New Roman" panose="02020603050405020304" pitchFamily="18" charset="0"/>
            </a:endParaRPr>
          </a:p>
        </p:txBody>
      </p:sp>
      <p:sp>
        <p:nvSpPr>
          <p:cNvPr id="8" name="Rogner un rectangle à un seul coin 7"/>
          <p:cNvSpPr/>
          <p:nvPr/>
        </p:nvSpPr>
        <p:spPr>
          <a:xfrm>
            <a:off x="776571" y="2048925"/>
            <a:ext cx="2232000" cy="1659467"/>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DESPERDÍCIO ZERO</a:t>
            </a:r>
            <a:endParaRPr lang="fr-FR" dirty="0">
              <a:solidFill>
                <a:srgbClr val="007734"/>
              </a:solidFill>
            </a:endParaRPr>
          </a:p>
        </p:txBody>
      </p:sp>
      <p:sp>
        <p:nvSpPr>
          <p:cNvPr id="9" name="Rogner un rectangle à un seul coin 8"/>
          <p:cNvSpPr/>
          <p:nvPr/>
        </p:nvSpPr>
        <p:spPr>
          <a:xfrm>
            <a:off x="3358896" y="2048925"/>
            <a:ext cx="2232000" cy="1659467"/>
          </a:xfrm>
          <a:prstGeom prst="snip1Rect">
            <a:avLst>
              <a:gd name="adj" fmla="val 11639"/>
            </a:avLst>
          </a:prstGeom>
          <a:solidFill>
            <a:srgbClr val="F3E9E5">
              <a:alpha val="50196"/>
            </a:srgbClr>
          </a:solidFill>
          <a:ln>
            <a:solidFill>
              <a:srgbClr val="68B02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PARCERIA ENGAJADA</a:t>
            </a:r>
            <a:endParaRPr lang="fr-FR" dirty="0">
              <a:solidFill>
                <a:srgbClr val="007734"/>
              </a:solidFill>
            </a:endParaRPr>
          </a:p>
        </p:txBody>
      </p:sp>
      <p:sp>
        <p:nvSpPr>
          <p:cNvPr id="12" name="Rogner un rectangle à un seul coin 11"/>
          <p:cNvSpPr/>
          <p:nvPr/>
        </p:nvSpPr>
        <p:spPr>
          <a:xfrm>
            <a:off x="5939537" y="2048925"/>
            <a:ext cx="2232000" cy="1659467"/>
          </a:xfrm>
          <a:prstGeom prst="snip1Rect">
            <a:avLst>
              <a:gd name="adj" fmla="val 11639"/>
            </a:avLst>
          </a:prstGeom>
          <a:solidFill>
            <a:srgbClr val="F3E9E5">
              <a:alpha val="50196"/>
            </a:srgbClr>
          </a:solidFill>
          <a:ln>
            <a:solidFill>
              <a:srgbClr val="68B02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007734"/>
                </a:solidFill>
              </a:rPr>
              <a:t>IMPACTO POSITIVO </a:t>
            </a:r>
            <a:r>
              <a:rPr lang="fr-FR" dirty="0" smtClean="0">
                <a:solidFill>
                  <a:srgbClr val="007734"/>
                </a:solidFill>
              </a:rPr>
              <a:t>NA</a:t>
            </a:r>
            <a:endParaRPr lang="fr-FR" dirty="0" smtClean="0">
              <a:solidFill>
                <a:srgbClr val="007734"/>
              </a:solidFill>
            </a:endParaRPr>
          </a:p>
          <a:p>
            <a:pPr algn="ctr"/>
            <a:r>
              <a:rPr lang="fr-FR" dirty="0" smtClean="0">
                <a:solidFill>
                  <a:srgbClr val="007734"/>
                </a:solidFill>
              </a:rPr>
              <a:t>TERRA</a:t>
            </a:r>
            <a:endParaRPr lang="fr-FR" dirty="0">
              <a:solidFill>
                <a:srgbClr val="007734"/>
              </a:solidFill>
            </a:endParaRPr>
          </a:p>
        </p:txBody>
      </p:sp>
      <p:pic>
        <p:nvPicPr>
          <p:cNvPr id="15" name="Picture 2" descr="C:\Users\uinhv\Downloads\shutterstock_1435675721.jpg"/>
          <p:cNvPicPr>
            <a:picLocks noChangeAspect="1" noChangeArrowheads="1"/>
          </p:cNvPicPr>
          <p:nvPr/>
        </p:nvPicPr>
        <p:blipFill rotWithShape="1">
          <a:blip r:embed="rId1" cstate="print">
            <a:clrChange>
              <a:clrFrom>
                <a:srgbClr val="FFFFFF"/>
              </a:clrFrom>
              <a:clrTo>
                <a:srgbClr val="FFFFFF">
                  <a:alpha val="0"/>
                </a:srgbClr>
              </a:clrTo>
            </a:clrChange>
            <a:extLst>
              <a:ext uri="{BEBA8EAE-BF5A-486C-A8C5-ECC9F3942E4B}">
                <a14:imgProps xmlns:a14="http://schemas.microsoft.com/office/drawing/2010/main">
                  <a14:imgLayer r:embed="rId2">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Lst>
          </a:blip>
          <a:srcRect l="26955" t="27407" r="50000" b="50000"/>
          <a:stretch>
            <a:fillRect/>
          </a:stretch>
        </p:blipFill>
        <p:spPr bwMode="auto">
          <a:xfrm>
            <a:off x="2135026" y="3286648"/>
            <a:ext cx="860382" cy="843488"/>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C:\Users\uinhv\Downloads\shutterstock_1027827586.jpg"/>
          <p:cNvPicPr>
            <a:picLocks noChangeAspect="1" noChangeArrowheads="1"/>
          </p:cNvPicPr>
          <p:nvPr/>
        </p:nvPicPr>
        <p:blipFill rotWithShape="1">
          <a:blip r:embed="rId3" cstate="print">
            <a:clrChange>
              <a:clrFrom>
                <a:srgbClr val="FFFFFF"/>
              </a:clrFrom>
              <a:clrTo>
                <a:srgbClr val="FFFFFF">
                  <a:alpha val="0"/>
                </a:srgbClr>
              </a:clrTo>
            </a:clrChange>
          </a:blip>
          <a:srcRect l="34198" t="15145" r="25303" b="30699"/>
          <a:stretch>
            <a:fillRect/>
          </a:stretch>
        </p:blipFill>
        <p:spPr bwMode="auto">
          <a:xfrm>
            <a:off x="4783255" y="3402392"/>
            <a:ext cx="610256" cy="612000"/>
          </a:xfrm>
          <a:prstGeom prst="ellipse">
            <a:avLst/>
          </a:prstGeom>
          <a:noFill/>
          <a:extLst>
            <a:ext uri="{909E8E84-426E-40DD-AFC4-6F175D3DCCD1}">
              <a14:hiddenFill xmlns:a14="http://schemas.microsoft.com/office/drawing/2010/main">
                <a:solidFill>
                  <a:srgbClr val="FFFFFF"/>
                </a:solidFill>
              </a14:hiddenFill>
            </a:ext>
          </a:extLst>
        </p:spPr>
      </p:pic>
      <p:pic>
        <p:nvPicPr>
          <p:cNvPr id="16" name="Picture 2" descr="C:\Users\uinhv\Downloads\shutterstock_1179319306.jpg"/>
          <p:cNvPicPr>
            <a:picLocks noChangeAspect="1" noChangeArrowheads="1"/>
          </p:cNvPicPr>
          <p:nvPr/>
        </p:nvPicPr>
        <p:blipFill rotWithShape="1">
          <a:blip r:embed="rId4" cstate="print">
            <a:clrChange>
              <a:clrFrom>
                <a:srgbClr val="FFFFFF"/>
              </a:clrFrom>
              <a:clrTo>
                <a:srgbClr val="FFFFFF">
                  <a:alpha val="0"/>
                </a:srgbClr>
              </a:clrTo>
            </a:clrChange>
          </a:blip>
          <a:srcRect l="24485" t="22543" r="25803" b="30700"/>
          <a:stretch>
            <a:fillRect/>
          </a:stretch>
        </p:blipFill>
        <p:spPr bwMode="auto">
          <a:xfrm>
            <a:off x="7227847" y="3369732"/>
            <a:ext cx="790447" cy="74346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12" name="Rectangle 11"/>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p>
        </p:txBody>
      </p:sp>
      <p:sp>
        <p:nvSpPr>
          <p:cNvPr id="2" name="Titre 1"/>
          <p:cNvSpPr>
            <a:spLocks noGrp="1"/>
          </p:cNvSpPr>
          <p:nvPr>
            <p:ph type="title"/>
          </p:nvPr>
        </p:nvSpPr>
        <p:spPr/>
        <p:txBody>
          <a:bodyPr/>
          <a:lstStyle/>
          <a:p>
            <a:r>
              <a:rPr lang="en-GB" dirty="0" err="1"/>
              <a:t>Colheita</a:t>
            </a:r>
            <a:r>
              <a:rPr lang="en-GB" dirty="0"/>
              <a:t> e </a:t>
            </a:r>
            <a:r>
              <a:rPr lang="en-GB" dirty="0" err="1"/>
              <a:t>processo</a:t>
            </a:r>
            <a:endParaRPr lang="en-GB" dirty="0"/>
          </a:p>
        </p:txBody>
      </p:sp>
      <p:sp>
        <p:nvSpPr>
          <p:cNvPr id="3" name="Espace réservé du numéro de diapositive 2"/>
          <p:cNvSpPr>
            <a:spLocks noGrp="1"/>
          </p:cNvSpPr>
          <p:nvPr>
            <p:ph type="sldNum" sz="quarter" idx="12"/>
          </p:nvPr>
        </p:nvSpPr>
        <p:spPr/>
        <p:txBody>
          <a:bodyPr/>
          <a:lstStyle/>
          <a:p>
            <a:fld id="{8AD48C63-78A6-4D64-B839-4870EFEB9C13}" type="slidenum">
              <a:rPr lang="de-DE" smtClean="0">
                <a:solidFill>
                  <a:srgbClr val="A8A09E"/>
                </a:solidFill>
              </a:rPr>
            </a:fld>
            <a:endParaRPr lang="de-DE">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lstStyle/>
          <a:p>
            <a:r>
              <a:rPr lang="pt-BR" dirty="0">
                <a:solidFill>
                  <a:srgbClr val="FF0066"/>
                </a:solidFill>
              </a:rPr>
              <a:t>Totalmente otimizado e adaptado </a:t>
            </a:r>
            <a:r>
              <a:rPr lang="pt-BR" dirty="0" smtClean="0">
                <a:solidFill>
                  <a:srgbClr val="FF0066"/>
                </a:solidFill>
              </a:rPr>
              <a:t>as espécies</a:t>
            </a:r>
            <a:endParaRPr lang="en-GB" dirty="0">
              <a:solidFill>
                <a:srgbClr val="FF0066"/>
              </a:solidFill>
            </a:endParaRPr>
          </a:p>
        </p:txBody>
      </p:sp>
      <p:pic>
        <p:nvPicPr>
          <p:cNvPr id="18" name="Image 17"/>
          <p:cNvPicPr>
            <a:picLocks noChangeAspect="1"/>
          </p:cNvPicPr>
          <p:nvPr/>
        </p:nvPicPr>
        <p:blipFill rotWithShape="1">
          <a:blip r:embed="rId1" cstate="print"/>
          <a:srcRect b="12540"/>
          <a:stretch>
            <a:fillRect/>
          </a:stretch>
        </p:blipFill>
        <p:spPr>
          <a:xfrm>
            <a:off x="270219" y="2801115"/>
            <a:ext cx="514350" cy="449852"/>
          </a:xfrm>
          <a:prstGeom prst="rect">
            <a:avLst/>
          </a:prstGeom>
        </p:spPr>
      </p:pic>
      <p:sp>
        <p:nvSpPr>
          <p:cNvPr id="21" name="Rectangle 20"/>
          <p:cNvSpPr/>
          <p:nvPr/>
        </p:nvSpPr>
        <p:spPr>
          <a:xfrm>
            <a:off x="868680" y="1649431"/>
            <a:ext cx="7710170" cy="300082"/>
          </a:xfrm>
          <a:prstGeom prst="rect">
            <a:avLst/>
          </a:prstGeom>
        </p:spPr>
        <p:txBody>
          <a:bodyPr wrap="square" lIns="68580" tIns="34290" rIns="68580" bIns="34290">
            <a:spAutoFit/>
          </a:bodyPr>
          <a:lstStyle/>
          <a:p>
            <a:r>
              <a:rPr lang="pt-BR" sz="1500" dirty="0" smtClean="0"/>
              <a:t>Identificar frutas </a:t>
            </a:r>
            <a:r>
              <a:rPr lang="pt-BR" sz="1500" dirty="0"/>
              <a:t>cultivadas em áreas específicas </a:t>
            </a:r>
            <a:r>
              <a:rPr lang="pt-BR" sz="1500" dirty="0" smtClean="0"/>
              <a:t>em </a:t>
            </a:r>
            <a:r>
              <a:rPr lang="pt-BR" sz="1500" b="1" dirty="0">
                <a:solidFill>
                  <a:srgbClr val="68B222"/>
                </a:solidFill>
              </a:rPr>
              <a:t>ótimas </a:t>
            </a:r>
            <a:r>
              <a:rPr lang="pt-BR" sz="1500" b="1" dirty="0" smtClean="0">
                <a:solidFill>
                  <a:srgbClr val="68B222"/>
                </a:solidFill>
              </a:rPr>
              <a:t>condições climáticas.</a:t>
            </a:r>
            <a:endParaRPr lang="fr-FR" sz="1500" b="1" dirty="0">
              <a:solidFill>
                <a:srgbClr val="68B222"/>
              </a:solidFill>
            </a:endParaRPr>
          </a:p>
        </p:txBody>
      </p:sp>
      <p:pic>
        <p:nvPicPr>
          <p:cNvPr id="22" name="Image 21"/>
          <p:cNvPicPr>
            <a:picLocks noChangeAspect="1"/>
          </p:cNvPicPr>
          <p:nvPr/>
        </p:nvPicPr>
        <p:blipFill rotWithShape="1">
          <a:blip r:embed="rId2" cstate="print"/>
          <a:srcRect l="26349" t="5079" r="27143" b="19524"/>
          <a:stretch>
            <a:fillRect/>
          </a:stretch>
        </p:blipFill>
        <p:spPr>
          <a:xfrm>
            <a:off x="330501" y="2049237"/>
            <a:ext cx="393787" cy="638392"/>
          </a:xfrm>
          <a:prstGeom prst="rect">
            <a:avLst/>
          </a:prstGeom>
        </p:spPr>
      </p:pic>
      <p:pic>
        <p:nvPicPr>
          <p:cNvPr id="23" name="Image 22"/>
          <p:cNvPicPr>
            <a:picLocks noChangeAspect="1"/>
          </p:cNvPicPr>
          <p:nvPr/>
        </p:nvPicPr>
        <p:blipFill rotWithShape="1">
          <a:blip r:embed="rId3" cstate="print"/>
          <a:srcRect b="13492"/>
          <a:stretch>
            <a:fillRect/>
          </a:stretch>
        </p:blipFill>
        <p:spPr>
          <a:xfrm>
            <a:off x="207806" y="1429065"/>
            <a:ext cx="639178" cy="552940"/>
          </a:xfrm>
          <a:prstGeom prst="rect">
            <a:avLst/>
          </a:prstGeom>
        </p:spPr>
      </p:pic>
      <p:sp>
        <p:nvSpPr>
          <p:cNvPr id="5" name="Rectangle 4"/>
          <p:cNvSpPr/>
          <p:nvPr/>
        </p:nvSpPr>
        <p:spPr>
          <a:xfrm>
            <a:off x="868679" y="3345384"/>
            <a:ext cx="7784949" cy="1685077"/>
          </a:xfrm>
          <a:prstGeom prst="rect">
            <a:avLst/>
          </a:prstGeom>
        </p:spPr>
        <p:txBody>
          <a:bodyPr wrap="square" lIns="68580" tIns="34290" rIns="68580" bIns="34290">
            <a:spAutoFit/>
          </a:bodyPr>
          <a:lstStyle/>
          <a:p>
            <a:pPr>
              <a:buClr>
                <a:srgbClr val="68B022"/>
              </a:buClr>
            </a:pPr>
            <a:r>
              <a:rPr lang="fr-FR" sz="1500" b="1" dirty="0" smtClean="0">
                <a:highlight>
                  <a:srgbClr val="D9E8C3"/>
                </a:highlight>
              </a:rPr>
              <a:t>Gerar a cultura do não </a:t>
            </a:r>
            <a:r>
              <a:rPr lang="fr-FR" sz="1500" b="1" dirty="0">
                <a:highlight>
                  <a:srgbClr val="D9E8C3"/>
                </a:highlight>
              </a:rPr>
              <a:t>desperdício - </a:t>
            </a:r>
            <a:r>
              <a:rPr lang="fr-FR" sz="1500" b="1" dirty="0" smtClean="0">
                <a:highlight>
                  <a:srgbClr val="D9E8C3"/>
                </a:highlight>
              </a:rPr>
              <a:t>Princípio </a:t>
            </a:r>
            <a:r>
              <a:rPr lang="fr-FR" sz="1500" b="1" dirty="0">
                <a:highlight>
                  <a:srgbClr val="D9E8C3"/>
                </a:highlight>
              </a:rPr>
              <a:t>C</a:t>
            </a:r>
            <a:r>
              <a:rPr lang="fr-FR" sz="1500" b="1" dirty="0" smtClean="0">
                <a:highlight>
                  <a:srgbClr val="D9E8C3"/>
                </a:highlight>
              </a:rPr>
              <a:t>ircular</a:t>
            </a:r>
            <a:endParaRPr lang="fr-FR" sz="1500" b="1" dirty="0" smtClean="0">
              <a:highlight>
                <a:srgbClr val="D9E8C3"/>
              </a:highlight>
            </a:endParaRPr>
          </a:p>
          <a:p>
            <a:pPr marL="257175" indent="-257175">
              <a:buClr>
                <a:srgbClr val="68B022"/>
              </a:buClr>
              <a:buFont typeface="Arial" panose="020B0604020202020204" pitchFamily="34" charset="0"/>
              <a:buChar char="→"/>
            </a:pPr>
            <a:r>
              <a:rPr lang="en-GB" sz="1500" b="1" dirty="0" err="1" smtClean="0">
                <a:ea typeface="+mn-lt"/>
                <a:cs typeface="+mn-lt"/>
              </a:rPr>
              <a:t>Polpa</a:t>
            </a:r>
            <a:r>
              <a:rPr lang="en-GB" sz="1500" dirty="0">
                <a:ea typeface="+mn-lt"/>
                <a:cs typeface="+mn-lt"/>
              </a:rPr>
              <a:t> </a:t>
            </a:r>
            <a:r>
              <a:rPr lang="en-GB" sz="1500" dirty="0" smtClean="0">
                <a:ea typeface="+mn-lt"/>
                <a:cs typeface="+mn-lt"/>
              </a:rPr>
              <a:t>- </a:t>
            </a:r>
            <a:r>
              <a:rPr lang="en-GB" sz="1500" dirty="0" err="1" smtClean="0">
                <a:ea typeface="+mn-lt"/>
                <a:cs typeface="+mn-lt"/>
              </a:rPr>
              <a:t>pode</a:t>
            </a:r>
            <a:r>
              <a:rPr lang="en-GB" sz="1500" dirty="0" smtClean="0">
                <a:ea typeface="+mn-lt"/>
                <a:cs typeface="+mn-lt"/>
              </a:rPr>
              <a:t> </a:t>
            </a:r>
            <a:r>
              <a:rPr lang="en-GB" sz="1500" dirty="0" err="1" smtClean="0">
                <a:ea typeface="+mn-lt"/>
                <a:cs typeface="+mn-lt"/>
              </a:rPr>
              <a:t>ser</a:t>
            </a:r>
            <a:r>
              <a:rPr lang="en-GB" sz="1500" dirty="0" smtClean="0">
                <a:ea typeface="+mn-lt"/>
                <a:cs typeface="+mn-lt"/>
              </a:rPr>
              <a:t> </a:t>
            </a:r>
            <a:r>
              <a:rPr lang="en-GB" sz="1500" dirty="0" err="1" smtClean="0">
                <a:ea typeface="+mn-lt"/>
                <a:cs typeface="+mn-lt"/>
              </a:rPr>
              <a:t>utilizada</a:t>
            </a:r>
            <a:r>
              <a:rPr lang="en-GB" sz="1500" dirty="0" smtClean="0">
                <a:ea typeface="+mn-lt"/>
                <a:cs typeface="+mn-lt"/>
              </a:rPr>
              <a:t> </a:t>
            </a:r>
            <a:r>
              <a:rPr lang="en-GB" sz="1500" dirty="0" err="1" smtClean="0">
                <a:ea typeface="+mn-lt"/>
                <a:cs typeface="+mn-lt"/>
              </a:rPr>
              <a:t>na</a:t>
            </a:r>
            <a:r>
              <a:rPr lang="en-GB" sz="1500" dirty="0" smtClean="0">
                <a:ea typeface="+mn-lt"/>
                <a:cs typeface="+mn-lt"/>
              </a:rPr>
              <a:t> </a:t>
            </a:r>
            <a:r>
              <a:rPr lang="en-GB" sz="1500" dirty="0" err="1" smtClean="0">
                <a:ea typeface="+mn-lt"/>
                <a:cs typeface="+mn-lt"/>
              </a:rPr>
              <a:t>indústria</a:t>
            </a:r>
            <a:r>
              <a:rPr lang="en-GB" sz="1500" dirty="0" smtClean="0">
                <a:ea typeface="+mn-lt"/>
                <a:cs typeface="+mn-lt"/>
              </a:rPr>
              <a:t> </a:t>
            </a:r>
            <a:r>
              <a:rPr lang="en-GB" sz="1500" dirty="0" err="1" smtClean="0">
                <a:ea typeface="+mn-lt"/>
                <a:cs typeface="+mn-lt"/>
              </a:rPr>
              <a:t>alimentícia</a:t>
            </a:r>
            <a:r>
              <a:rPr lang="en-GB" sz="1500" dirty="0" smtClean="0">
                <a:ea typeface="+mn-lt"/>
                <a:cs typeface="+mn-lt"/>
              </a:rPr>
              <a:t> </a:t>
            </a:r>
            <a:r>
              <a:rPr lang="en-GB" sz="1500" dirty="0" err="1" smtClean="0">
                <a:ea typeface="+mn-lt"/>
                <a:cs typeface="+mn-lt"/>
              </a:rPr>
              <a:t>para</a:t>
            </a:r>
            <a:r>
              <a:rPr lang="en-GB" sz="1500" dirty="0" smtClean="0">
                <a:ea typeface="+mn-lt"/>
                <a:cs typeface="+mn-lt"/>
              </a:rPr>
              <a:t>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sucos</a:t>
            </a:r>
            <a:r>
              <a:rPr lang="en-GB" sz="1500" dirty="0" smtClean="0">
                <a:ea typeface="+mn-lt"/>
                <a:cs typeface="+mn-lt"/>
              </a:rPr>
              <a:t>.</a:t>
            </a:r>
            <a:endParaRPr lang="en-GB" sz="1500" dirty="0">
              <a:ea typeface="+mn-lt"/>
              <a:cs typeface="+mn-lt"/>
              <a:sym typeface="Wingdings" panose="05000000000000000000" pitchFamily="2" charset="2"/>
            </a:endParaRPr>
          </a:p>
          <a:p>
            <a:pPr marL="257175" indent="-257175">
              <a:buClr>
                <a:srgbClr val="68B022"/>
              </a:buClr>
              <a:buFont typeface="Arial" panose="020B0604020202020204" pitchFamily="34" charset="0"/>
              <a:buChar char="→"/>
            </a:pPr>
            <a:r>
              <a:rPr lang="en-GB" sz="1500" b="1" dirty="0" err="1" smtClean="0">
                <a:ea typeface="Calibri" panose="020F0502020204030204" pitchFamily="34" charset="0"/>
                <a:cs typeface="Calibri" panose="020F0502020204030204"/>
              </a:rPr>
              <a:t>Bagaço</a:t>
            </a:r>
            <a:r>
              <a:rPr lang="en-GB" sz="1500" dirty="0" smtClean="0">
                <a:ea typeface="Calibri" panose="020F0502020204030204" pitchFamily="34" charset="0"/>
                <a:cs typeface="Calibri" panose="020F0502020204030204"/>
              </a:rPr>
              <a:t> </a:t>
            </a:r>
            <a:r>
              <a:rPr lang="en-GB" sz="1500" dirty="0" smtClean="0">
                <a:ea typeface="Calibri" panose="020F0502020204030204" pitchFamily="34" charset="0"/>
                <a:cs typeface="Calibri" panose="020F0502020204030204"/>
                <a:sym typeface="Wingdings" panose="05000000000000000000" pitchFamily="2" charset="2"/>
              </a:rPr>
              <a:t>- </a:t>
            </a:r>
            <a:r>
              <a:rPr lang="en-GB" sz="1500" dirty="0" err="1" smtClean="0">
                <a:ea typeface="Calibri" panose="020F0502020204030204" pitchFamily="34" charset="0"/>
                <a:cs typeface="Calibri" panose="020F0502020204030204"/>
              </a:rPr>
              <a:t>Pode</a:t>
            </a:r>
            <a:r>
              <a:rPr lang="en-GB" sz="1500" dirty="0">
                <a:ea typeface="Calibri" panose="020F0502020204030204" pitchFamily="34" charset="0"/>
                <a:cs typeface="Calibri" panose="020F0502020204030204"/>
              </a:rPr>
              <a:t> </a:t>
            </a:r>
            <a:r>
              <a:rPr lang="en-GB" sz="1500" dirty="0" err="1" smtClean="0">
                <a:ea typeface="Calibri" panose="020F0502020204030204" pitchFamily="34" charset="0"/>
                <a:cs typeface="Calibri" panose="020F0502020204030204"/>
              </a:rPr>
              <a:t>ser</a:t>
            </a:r>
            <a:r>
              <a:rPr lang="en-GB" sz="1500" dirty="0" smtClean="0">
                <a:ea typeface="Calibri" panose="020F0502020204030204" pitchFamily="34" charset="0"/>
                <a:cs typeface="Calibri" panose="020F0502020204030204"/>
              </a:rPr>
              <a:t> </a:t>
            </a:r>
            <a:r>
              <a:rPr lang="en-GB" sz="1500" dirty="0" err="1" smtClean="0">
                <a:ea typeface="Calibri" panose="020F0502020204030204" pitchFamily="34" charset="0"/>
                <a:cs typeface="Calibri" panose="020F0502020204030204"/>
              </a:rPr>
              <a:t>utilizado</a:t>
            </a:r>
            <a:r>
              <a:rPr lang="en-GB" sz="1500" dirty="0" smtClean="0">
                <a:ea typeface="Calibri" panose="020F0502020204030204" pitchFamily="34" charset="0"/>
                <a:cs typeface="Calibri" panose="020F0502020204030204"/>
              </a:rPr>
              <a:t> </a:t>
            </a:r>
            <a:r>
              <a:rPr lang="en-GB" sz="1500" dirty="0" err="1" smtClean="0">
                <a:ea typeface="Calibri" panose="020F0502020204030204" pitchFamily="34" charset="0"/>
                <a:cs typeface="Calibri" panose="020F0502020204030204"/>
              </a:rPr>
              <a:t>em</a:t>
            </a:r>
            <a:r>
              <a:rPr lang="en-GB" sz="1500" dirty="0">
                <a:ea typeface="Calibri" panose="020F0502020204030204" pitchFamily="34" charset="0"/>
                <a:cs typeface="Calibri" panose="020F0502020204030204"/>
              </a:rPr>
              <a:t> </a:t>
            </a:r>
            <a:r>
              <a:rPr lang="en-GB" sz="1500" dirty="0" err="1">
                <a:ea typeface="Calibri" panose="020F0502020204030204" pitchFamily="34" charset="0"/>
                <a:cs typeface="Calibri" panose="020F0502020204030204"/>
              </a:rPr>
              <a:t>ração</a:t>
            </a:r>
            <a:r>
              <a:rPr lang="en-GB" sz="1500" dirty="0">
                <a:ea typeface="Calibri" panose="020F0502020204030204" pitchFamily="34" charset="0"/>
                <a:cs typeface="Calibri" panose="020F0502020204030204"/>
              </a:rPr>
              <a:t> </a:t>
            </a:r>
            <a:r>
              <a:rPr lang="en-GB" sz="1500" dirty="0" smtClean="0">
                <a:ea typeface="Calibri" panose="020F0502020204030204" pitchFamily="34" charset="0"/>
                <a:cs typeface="Calibri" panose="020F0502020204030204"/>
              </a:rPr>
              <a:t>animal, </a:t>
            </a:r>
            <a:r>
              <a:rPr lang="en-GB" sz="1500" dirty="0" err="1" smtClean="0">
                <a:ea typeface="Calibri" panose="020F0502020204030204" pitchFamily="34" charset="0"/>
                <a:cs typeface="Calibri" panose="020F0502020204030204"/>
              </a:rPr>
              <a:t>ou</a:t>
            </a:r>
            <a:r>
              <a:rPr lang="en-GB" sz="1500" dirty="0" smtClean="0">
                <a:ea typeface="Calibri" panose="020F0502020204030204" pitchFamily="34" charset="0"/>
                <a:cs typeface="Calibri" panose="020F0502020204030204"/>
              </a:rPr>
              <a:t> </a:t>
            </a:r>
            <a:r>
              <a:rPr lang="en-GB" sz="1500" dirty="0" err="1" smtClean="0">
                <a:ea typeface="Calibri" panose="020F0502020204030204" pitchFamily="34" charset="0"/>
                <a:cs typeface="Calibri" panose="020F0502020204030204"/>
              </a:rPr>
              <a:t>produção</a:t>
            </a:r>
            <a:r>
              <a:rPr lang="en-GB" sz="1500" dirty="0" smtClean="0">
                <a:ea typeface="Calibri" panose="020F0502020204030204" pitchFamily="34" charset="0"/>
                <a:cs typeface="Calibri" panose="020F0502020204030204"/>
              </a:rPr>
              <a:t> de </a:t>
            </a:r>
            <a:r>
              <a:rPr lang="en-GB" sz="1500" dirty="0" err="1" smtClean="0">
                <a:ea typeface="Calibri" panose="020F0502020204030204" pitchFamily="34" charset="0"/>
                <a:cs typeface="Calibri" panose="020F0502020204030204"/>
              </a:rPr>
              <a:t>farinha</a:t>
            </a:r>
            <a:r>
              <a:rPr lang="en-GB" sz="1500" dirty="0" smtClean="0">
                <a:ea typeface="Calibri" panose="020F0502020204030204" pitchFamily="34" charset="0"/>
                <a:cs typeface="Calibri" panose="020F0502020204030204"/>
              </a:rPr>
              <a:t>.</a:t>
            </a:r>
            <a:endParaRPr lang="en-GB" sz="1500" dirty="0" smtClean="0">
              <a:ea typeface="Calibri" panose="020F0502020204030204" pitchFamily="34" charset="0"/>
              <a:cs typeface="Calibri" panose="020F0502020204030204"/>
            </a:endParaRPr>
          </a:p>
          <a:p>
            <a:pPr marL="257175" indent="-257175">
              <a:buClr>
                <a:srgbClr val="68B022"/>
              </a:buClr>
              <a:buFont typeface="Arial" panose="020B0604020202020204" pitchFamily="34" charset="0"/>
              <a:buChar char="→"/>
            </a:pPr>
            <a:r>
              <a:rPr lang="en-GB" sz="1500" b="1" dirty="0" err="1" smtClean="0">
                <a:ea typeface="+mn-lt"/>
                <a:cs typeface="+mn-lt"/>
              </a:rPr>
              <a:t>Sementes</a:t>
            </a:r>
            <a:r>
              <a:rPr lang="en-GB" sz="1500" b="1" dirty="0" smtClean="0">
                <a:ea typeface="+mn-lt"/>
                <a:cs typeface="+mn-lt"/>
              </a:rPr>
              <a:t> </a:t>
            </a:r>
            <a:r>
              <a:rPr lang="en-GB" sz="1500" b="1" dirty="0" err="1" smtClean="0">
                <a:ea typeface="+mn-lt"/>
                <a:cs typeface="+mn-lt"/>
              </a:rPr>
              <a:t>ou</a:t>
            </a:r>
            <a:r>
              <a:rPr lang="en-GB" sz="1500" b="1" dirty="0" smtClean="0">
                <a:ea typeface="+mn-lt"/>
                <a:cs typeface="+mn-lt"/>
              </a:rPr>
              <a:t> </a:t>
            </a:r>
            <a:r>
              <a:rPr lang="en-GB" sz="1500" b="1" dirty="0" err="1" smtClean="0">
                <a:ea typeface="+mn-lt"/>
                <a:cs typeface="+mn-lt"/>
              </a:rPr>
              <a:t>Carroços</a:t>
            </a:r>
            <a:r>
              <a:rPr lang="en-GB" sz="1500" dirty="0" smtClean="0">
                <a:ea typeface="+mn-lt"/>
                <a:cs typeface="+mn-lt"/>
              </a:rPr>
              <a:t> -  </a:t>
            </a:r>
            <a:r>
              <a:rPr lang="en-GB" sz="1500" dirty="0" err="1" smtClean="0">
                <a:ea typeface="+mn-lt"/>
                <a:cs typeface="+mn-lt"/>
              </a:rPr>
              <a:t>Resíduo</a:t>
            </a:r>
            <a:r>
              <a:rPr lang="en-GB" sz="1500" dirty="0" smtClean="0">
                <a:ea typeface="+mn-lt"/>
                <a:cs typeface="+mn-lt"/>
              </a:rPr>
              <a:t> da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suco</a:t>
            </a:r>
            <a:r>
              <a:rPr lang="en-GB" sz="1500" dirty="0" smtClean="0">
                <a:ea typeface="+mn-lt"/>
                <a:cs typeface="+mn-lt"/>
              </a:rPr>
              <a:t>, </a:t>
            </a:r>
            <a:r>
              <a:rPr lang="en-GB" sz="1500" dirty="0" err="1" smtClean="0">
                <a:ea typeface="+mn-lt"/>
                <a:cs typeface="+mn-lt"/>
              </a:rPr>
              <a:t>podem</a:t>
            </a:r>
            <a:r>
              <a:rPr lang="en-GB" sz="1500" dirty="0" smtClean="0">
                <a:ea typeface="+mn-lt"/>
                <a:cs typeface="+mn-lt"/>
              </a:rPr>
              <a:t> </a:t>
            </a:r>
            <a:r>
              <a:rPr lang="en-GB" sz="1500" dirty="0" err="1" smtClean="0">
                <a:ea typeface="+mn-lt"/>
                <a:cs typeface="+mn-lt"/>
              </a:rPr>
              <a:t>ser</a:t>
            </a:r>
            <a:r>
              <a:rPr lang="en-GB" sz="1500" dirty="0" smtClean="0">
                <a:ea typeface="+mn-lt"/>
                <a:cs typeface="+mn-lt"/>
              </a:rPr>
              <a:t> </a:t>
            </a:r>
            <a:r>
              <a:rPr lang="en-GB" sz="1500" dirty="0" err="1" smtClean="0">
                <a:ea typeface="+mn-lt"/>
                <a:cs typeface="+mn-lt"/>
              </a:rPr>
              <a:t>utilizados</a:t>
            </a:r>
            <a:r>
              <a:rPr lang="en-GB" sz="1500" dirty="0" smtClean="0">
                <a:ea typeface="+mn-lt"/>
                <a:cs typeface="+mn-lt"/>
              </a:rPr>
              <a:t> </a:t>
            </a:r>
            <a:r>
              <a:rPr lang="en-GB" sz="1500" dirty="0" err="1" smtClean="0">
                <a:ea typeface="+mn-lt"/>
                <a:cs typeface="+mn-lt"/>
              </a:rPr>
              <a:t>pela</a:t>
            </a:r>
            <a:r>
              <a:rPr lang="en-GB" sz="1500" dirty="0" smtClean="0">
                <a:ea typeface="+mn-lt"/>
                <a:cs typeface="+mn-lt"/>
              </a:rPr>
              <a:t> </a:t>
            </a:r>
            <a:r>
              <a:rPr lang="en-GB" sz="1500" dirty="0" err="1" smtClean="0">
                <a:ea typeface="+mn-lt"/>
                <a:cs typeface="+mn-lt"/>
              </a:rPr>
              <a:t>indústria</a:t>
            </a:r>
            <a:r>
              <a:rPr lang="en-GB" sz="1500" dirty="0" smtClean="0">
                <a:ea typeface="+mn-lt"/>
                <a:cs typeface="+mn-lt"/>
              </a:rPr>
              <a:t> </a:t>
            </a:r>
            <a:r>
              <a:rPr lang="en-GB" sz="1500" dirty="0" err="1" smtClean="0">
                <a:ea typeface="+mn-lt"/>
                <a:cs typeface="+mn-lt"/>
              </a:rPr>
              <a:t>cosmética</a:t>
            </a:r>
            <a:r>
              <a:rPr lang="en-GB" sz="1500" dirty="0" smtClean="0">
                <a:ea typeface="+mn-lt"/>
                <a:cs typeface="+mn-lt"/>
              </a:rPr>
              <a:t> </a:t>
            </a:r>
            <a:r>
              <a:rPr lang="en-GB" sz="1500" dirty="0" err="1" smtClean="0">
                <a:ea typeface="+mn-lt"/>
                <a:cs typeface="+mn-lt"/>
              </a:rPr>
              <a:t>para</a:t>
            </a:r>
            <a:r>
              <a:rPr lang="en-GB" sz="1500" dirty="0" smtClean="0">
                <a:ea typeface="+mn-lt"/>
                <a:cs typeface="+mn-lt"/>
              </a:rPr>
              <a:t> </a:t>
            </a:r>
            <a:r>
              <a:rPr lang="en-GB" sz="1500" dirty="0" err="1" smtClean="0">
                <a:ea typeface="+mn-lt"/>
                <a:cs typeface="+mn-lt"/>
              </a:rPr>
              <a:t>produção</a:t>
            </a:r>
            <a:r>
              <a:rPr lang="en-GB" sz="1500" dirty="0" smtClean="0">
                <a:ea typeface="+mn-lt"/>
                <a:cs typeface="+mn-lt"/>
              </a:rPr>
              <a:t> de </a:t>
            </a:r>
            <a:r>
              <a:rPr lang="en-GB" sz="1500" dirty="0" err="1" smtClean="0">
                <a:ea typeface="+mn-lt"/>
                <a:cs typeface="+mn-lt"/>
              </a:rPr>
              <a:t>óleos</a:t>
            </a:r>
            <a:r>
              <a:rPr lang="en-GB" sz="1500" dirty="0" smtClean="0">
                <a:ea typeface="+mn-lt"/>
                <a:cs typeface="+mn-lt"/>
              </a:rPr>
              <a:t> </a:t>
            </a:r>
            <a:r>
              <a:rPr lang="en-GB" sz="1500" dirty="0" err="1" smtClean="0">
                <a:ea typeface="+mn-lt"/>
                <a:cs typeface="+mn-lt"/>
              </a:rPr>
              <a:t>vegetais</a:t>
            </a:r>
            <a:r>
              <a:rPr lang="en-GB" sz="1500" dirty="0" smtClean="0">
                <a:ea typeface="+mn-lt"/>
                <a:cs typeface="+mn-lt"/>
              </a:rPr>
              <a:t>.</a:t>
            </a:r>
            <a:endParaRPr lang="en-GB" sz="1500" dirty="0">
              <a:ea typeface="+mn-lt"/>
              <a:cs typeface="+mn-lt"/>
              <a:sym typeface="Wingdings" panose="05000000000000000000" pitchFamily="2" charset="2"/>
            </a:endParaRPr>
          </a:p>
          <a:p>
            <a:pPr marL="257175" indent="-257175">
              <a:buClr>
                <a:srgbClr val="68B022"/>
              </a:buClr>
              <a:buFont typeface="Arial" panose="020B0604020202020204" pitchFamily="34" charset="0"/>
              <a:buChar char="→"/>
            </a:pPr>
            <a:endParaRPr lang="fr-FR" sz="1500" dirty="0">
              <a:ea typeface="Calibri" panose="020F0502020204030204" pitchFamily="34" charset="0"/>
              <a:cs typeface="Calibri" panose="020F0502020204030204"/>
            </a:endParaRPr>
          </a:p>
          <a:p>
            <a:pPr>
              <a:buClr>
                <a:srgbClr val="68B022"/>
              </a:buClr>
            </a:pPr>
            <a:endParaRPr lang="fr-FR" sz="1500" b="1" dirty="0" smtClean="0">
              <a:highlight>
                <a:srgbClr val="D9E8C3"/>
              </a:highlight>
            </a:endParaRPr>
          </a:p>
        </p:txBody>
      </p:sp>
      <p:sp>
        <p:nvSpPr>
          <p:cNvPr id="6" name="Rectangle 5"/>
          <p:cNvSpPr/>
          <p:nvPr/>
        </p:nvSpPr>
        <p:spPr>
          <a:xfrm>
            <a:off x="868679" y="2783443"/>
            <a:ext cx="7524694" cy="530915"/>
          </a:xfrm>
          <a:prstGeom prst="rect">
            <a:avLst/>
          </a:prstGeom>
        </p:spPr>
        <p:txBody>
          <a:bodyPr wrap="square" lIns="68580" tIns="34290" rIns="68580" bIns="34290">
            <a:spAutoFit/>
          </a:bodyPr>
          <a:lstStyle/>
          <a:p>
            <a:r>
              <a:rPr lang="pt-BR" sz="1500" dirty="0">
                <a:solidFill>
                  <a:srgbClr val="000000"/>
                </a:solidFill>
              </a:rPr>
              <a:t>Depois de extrair o suco das frutas, as sementes e o bagaço são separados, limpos e </a:t>
            </a:r>
            <a:r>
              <a:rPr lang="pt-BR" sz="1500" dirty="0" smtClean="0">
                <a:solidFill>
                  <a:srgbClr val="000000"/>
                </a:solidFill>
              </a:rPr>
              <a:t>secos, podendo ser reaproveitados.</a:t>
            </a:r>
            <a:endParaRPr lang="en-US" sz="1500" dirty="0">
              <a:solidFill>
                <a:srgbClr val="000000"/>
              </a:solidFill>
            </a:endParaRPr>
          </a:p>
        </p:txBody>
      </p:sp>
      <p:sp>
        <p:nvSpPr>
          <p:cNvPr id="7" name="Rectangle 6"/>
          <p:cNvSpPr/>
          <p:nvPr/>
        </p:nvSpPr>
        <p:spPr>
          <a:xfrm>
            <a:off x="868680" y="2102974"/>
            <a:ext cx="7710170" cy="761747"/>
          </a:xfrm>
          <a:prstGeom prst="rect">
            <a:avLst/>
          </a:prstGeom>
        </p:spPr>
        <p:txBody>
          <a:bodyPr wrap="square" lIns="68580" tIns="34290" rIns="68580" bIns="34290">
            <a:spAutoFit/>
          </a:bodyPr>
          <a:lstStyle/>
          <a:p>
            <a:r>
              <a:rPr lang="fr-FR" sz="1500" dirty="0" smtClean="0"/>
              <a:t>Clientes podem prever e construir suas instalações perto dos campos</a:t>
            </a:r>
            <a:r>
              <a:rPr lang="fr-FR" sz="1500" dirty="0" smtClean="0">
                <a:solidFill>
                  <a:srgbClr val="000000"/>
                </a:solidFill>
              </a:rPr>
              <a:t>: </a:t>
            </a:r>
            <a:endParaRPr lang="fr-FR" sz="1500" dirty="0" smtClean="0">
              <a:solidFill>
                <a:srgbClr val="000000"/>
              </a:solidFill>
            </a:endParaRPr>
          </a:p>
          <a:p>
            <a:r>
              <a:rPr lang="pt-BR" sz="1500" b="1" dirty="0" smtClean="0">
                <a:solidFill>
                  <a:srgbClr val="68B222"/>
                </a:solidFill>
              </a:rPr>
              <a:t>             minimizam </a:t>
            </a:r>
            <a:r>
              <a:rPr lang="pt-BR" sz="1500" b="1" dirty="0">
                <a:solidFill>
                  <a:srgbClr val="68B222"/>
                </a:solidFill>
              </a:rPr>
              <a:t>a pegada de </a:t>
            </a:r>
            <a:r>
              <a:rPr lang="pt-BR" sz="1500" b="1" dirty="0" smtClean="0">
                <a:solidFill>
                  <a:srgbClr val="68B222"/>
                </a:solidFill>
              </a:rPr>
              <a:t>carbono, </a:t>
            </a:r>
            <a:r>
              <a:rPr lang="pt-BR" sz="1500" b="1" dirty="0">
                <a:solidFill>
                  <a:srgbClr val="68B222"/>
                </a:solidFill>
              </a:rPr>
              <a:t>e </a:t>
            </a:r>
            <a:r>
              <a:rPr lang="pt-BR" sz="1500" b="1" dirty="0" smtClean="0">
                <a:solidFill>
                  <a:srgbClr val="68B222"/>
                </a:solidFill>
              </a:rPr>
              <a:t>auxiliam </a:t>
            </a:r>
            <a:r>
              <a:rPr lang="pt-BR" sz="1500" b="1" dirty="0">
                <a:solidFill>
                  <a:srgbClr val="68B222"/>
                </a:solidFill>
              </a:rPr>
              <a:t>a </a:t>
            </a:r>
            <a:r>
              <a:rPr lang="pt-BR" sz="1500" b="1" dirty="0" smtClean="0">
                <a:solidFill>
                  <a:srgbClr val="68B222"/>
                </a:solidFill>
              </a:rPr>
              <a:t>compor rastreabilidade total</a:t>
            </a:r>
            <a:endParaRPr lang="fr-FR" sz="1500" b="1" dirty="0">
              <a:solidFill>
                <a:srgbClr val="68B222"/>
              </a:solidFill>
            </a:endParaRPr>
          </a:p>
          <a:p>
            <a:pPr>
              <a:buClr>
                <a:srgbClr val="68B222"/>
              </a:buClr>
            </a:pPr>
            <a:r>
              <a:rPr lang="fr-FR" sz="1500" b="1" dirty="0">
                <a:solidFill>
                  <a:srgbClr val="68B222"/>
                </a:solidFill>
              </a:rPr>
              <a:t>	</a:t>
            </a:r>
            <a:endParaRPr lang="fr-FR" sz="1500" b="1" dirty="0">
              <a:solidFill>
                <a:srgbClr val="68B222"/>
              </a:solidFill>
            </a:endParaRPr>
          </a:p>
        </p:txBody>
      </p:sp>
      <p:pic>
        <p:nvPicPr>
          <p:cNvPr id="13" name="Graphique 12" descr="Flèche vers la droite avec un remplissage uni"/>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8339" y="2194440"/>
            <a:ext cx="612029" cy="612029"/>
          </a:xfrm>
          <a:prstGeom prst="rect">
            <a:avLst/>
          </a:prstGeom>
        </p:spPr>
      </p:pic>
      <p:pic>
        <p:nvPicPr>
          <p:cNvPr id="19" name="Imag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42" y="3233129"/>
            <a:ext cx="1059073" cy="1059073"/>
          </a:xfrm>
          <a:prstGeom prst="rect">
            <a:avLst/>
          </a:prstGeom>
        </p:spPr>
      </p:pic>
      <p:sp>
        <p:nvSpPr>
          <p:cNvPr id="25" name="Rogner un rectangle à un seul coin 9"/>
          <p:cNvSpPr/>
          <p:nvPr/>
        </p:nvSpPr>
        <p:spPr>
          <a:xfrm>
            <a:off x="6019800" y="182880"/>
            <a:ext cx="1233170" cy="789078"/>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DESPERDÍCIO ZERO</a:t>
            </a:r>
            <a:endParaRPr lang="fr-FR" sz="1100" dirty="0">
              <a:solidFill>
                <a:srgbClr val="007734"/>
              </a:solidFill>
            </a:endParaRPr>
          </a:p>
        </p:txBody>
      </p:sp>
      <p:pic>
        <p:nvPicPr>
          <p:cNvPr id="26" name="Picture 2" descr="C:\Users\uinhv\Downloads\shutterstock_1435675721.jpg"/>
          <p:cNvPicPr>
            <a:picLocks noChangeAspect="1" noChangeArrowheads="1"/>
          </p:cNvPicPr>
          <p:nvPr/>
        </p:nvPicPr>
        <p:blipFill rotWithShape="1">
          <a:blip r:embed="rId7" cstate="print">
            <a:clrChange>
              <a:clrFrom>
                <a:srgbClr val="FFFFFF"/>
              </a:clrFrom>
              <a:clrTo>
                <a:srgbClr val="FFFFFF">
                  <a:alpha val="0"/>
                </a:srgbClr>
              </a:clrTo>
            </a:clrChange>
            <a:extLst>
              <a:ext uri="{BEBA8EAE-BF5A-486C-A8C5-ECC9F3942E4B}">
                <a14:imgProps xmlns:a14="http://schemas.microsoft.com/office/drawing/2010/main">
                  <a14:imgLayer r:embed="rId8">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Lst>
          </a:blip>
          <a:srcRect l="26955" t="27407" r="50000" b="50000"/>
          <a:stretch>
            <a:fillRect/>
          </a:stretch>
        </p:blipFill>
        <p:spPr bwMode="auto">
          <a:xfrm>
            <a:off x="6830274" y="747481"/>
            <a:ext cx="457947" cy="44895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2" y="497845"/>
            <a:ext cx="5808133" cy="165894"/>
          </a:xfrm>
        </p:spPr>
        <p:txBody>
          <a:bodyPr/>
          <a:lstStyle/>
          <a:p>
            <a:r>
              <a:rPr lang="fr-FR" dirty="0" smtClean="0"/>
              <a:t>Reutilzação</a:t>
            </a:r>
            <a:endParaRPr lang="fr-FR" dirty="0"/>
          </a:p>
        </p:txBody>
      </p:sp>
      <p:sp>
        <p:nvSpPr>
          <p:cNvPr id="3" name="Espace réservé du numéro de diapositive 2"/>
          <p:cNvSpPr>
            <a:spLocks noGrp="1"/>
          </p:cNvSpPr>
          <p:nvPr>
            <p:ph type="sldNum" sz="quarter" idx="12"/>
          </p:nvPr>
        </p:nvSpPr>
        <p:spPr>
          <a:xfrm>
            <a:off x="8100352" y="4686279"/>
            <a:ext cx="468577" cy="177799"/>
          </a:xfrm>
        </p:spPr>
        <p:txBody>
          <a:bodyPr/>
          <a:lstStyle/>
          <a:p>
            <a:fld id="{8AD48C63-78A6-4D64-B839-4870EFEB9C13}" type="slidenum">
              <a:rPr lang="en-US" smtClean="0">
                <a:solidFill>
                  <a:srgbClr val="878787"/>
                </a:solidFill>
              </a:rPr>
            </a:fld>
            <a:endParaRPr lang="en-US">
              <a:solidFill>
                <a:srgbClr val="878787"/>
              </a:solidFill>
            </a:endParaRPr>
          </a:p>
        </p:txBody>
      </p:sp>
      <p:sp>
        <p:nvSpPr>
          <p:cNvPr id="4" name="Sous-titre 3"/>
          <p:cNvSpPr>
            <a:spLocks noGrp="1"/>
          </p:cNvSpPr>
          <p:nvPr>
            <p:ph type="subTitle" idx="1"/>
          </p:nvPr>
        </p:nvSpPr>
        <p:spPr>
          <a:xfrm>
            <a:off x="457202" y="682673"/>
            <a:ext cx="5808133" cy="288000"/>
          </a:xfrm>
          <a:noFill/>
          <a:ln>
            <a:noFill/>
          </a:ln>
        </p:spPr>
        <p:txBody>
          <a:bodyPr vert="horz" wrap="square" lIns="0" tIns="0" rIns="0" bIns="0" numCol="1" anchor="t" anchorCtr="0" compatLnSpc="1"/>
          <a:lstStyle/>
          <a:p>
            <a:r>
              <a:rPr lang="fr-FR" dirty="0" smtClean="0">
                <a:solidFill>
                  <a:srgbClr val="FF0066"/>
                </a:solidFill>
              </a:rPr>
              <a:t>O processo</a:t>
            </a:r>
            <a:endParaRPr lang="fr-FR" dirty="0">
              <a:solidFill>
                <a:srgbClr val="FF0066"/>
              </a:solidFill>
            </a:endParaRPr>
          </a:p>
        </p:txBody>
      </p:sp>
      <p:sp>
        <p:nvSpPr>
          <p:cNvPr id="17" name="Rectangle 16"/>
          <p:cNvSpPr/>
          <p:nvPr/>
        </p:nvSpPr>
        <p:spPr>
          <a:xfrm>
            <a:off x="7181155" y="2380385"/>
            <a:ext cx="985738" cy="577775"/>
          </a:xfrm>
          <a:prstGeom prst="rect">
            <a:avLst/>
          </a:prstGeom>
          <a:solidFill>
            <a:srgbClr val="68B0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a:t>Indústria </a:t>
            </a:r>
            <a:r>
              <a:rPr lang="fr-FR" sz="1200" dirty="0" smtClean="0"/>
              <a:t>Alimentícia</a:t>
            </a:r>
            <a:endParaRPr lang="fr-FR" sz="1200" dirty="0"/>
          </a:p>
        </p:txBody>
      </p:sp>
      <p:pic>
        <p:nvPicPr>
          <p:cNvPr id="21" name="Image 20"/>
          <p:cNvPicPr>
            <a:picLocks noChangeAspect="1"/>
          </p:cNvPicPr>
          <p:nvPr/>
        </p:nvPicPr>
        <p:blipFill>
          <a:blip r:embed="rId1">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479971" y="2149838"/>
            <a:ext cx="985739" cy="985739"/>
          </a:xfrm>
          <a:prstGeom prst="rect">
            <a:avLst/>
          </a:prstGeom>
        </p:spPr>
      </p:pic>
      <p:sp>
        <p:nvSpPr>
          <p:cNvPr id="22" name="Rectangle 21"/>
          <p:cNvSpPr/>
          <p:nvPr/>
        </p:nvSpPr>
        <p:spPr>
          <a:xfrm>
            <a:off x="1590514" y="2393001"/>
            <a:ext cx="985738" cy="577775"/>
          </a:xfrm>
          <a:prstGeom prst="rect">
            <a:avLst/>
          </a:prstGeom>
          <a:solidFill>
            <a:srgbClr val="68B0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t>Cosméticos</a:t>
            </a:r>
            <a:endParaRPr lang="fr-FR" sz="1200" dirty="0"/>
          </a:p>
        </p:txBody>
      </p:sp>
      <p:sp>
        <p:nvSpPr>
          <p:cNvPr id="23" name="Rectangle 22"/>
          <p:cNvSpPr/>
          <p:nvPr/>
        </p:nvSpPr>
        <p:spPr>
          <a:xfrm>
            <a:off x="500735" y="2393001"/>
            <a:ext cx="1057832" cy="577775"/>
          </a:xfrm>
          <a:prstGeom prst="rect">
            <a:avLst/>
          </a:prstGeom>
          <a:no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solidFill>
                  <a:srgbClr val="68B022"/>
                </a:solidFill>
              </a:rPr>
              <a:t>Subprodutos</a:t>
            </a:r>
            <a:endParaRPr lang="fr-FR" sz="1200" dirty="0">
              <a:solidFill>
                <a:srgbClr val="68B022"/>
              </a:solidFill>
            </a:endParaRPr>
          </a:p>
        </p:txBody>
      </p:sp>
      <p:sp>
        <p:nvSpPr>
          <p:cNvPr id="24" name="Rectangle 23"/>
          <p:cNvSpPr/>
          <p:nvPr/>
        </p:nvSpPr>
        <p:spPr>
          <a:xfrm>
            <a:off x="5938513" y="2380385"/>
            <a:ext cx="1057832" cy="560989"/>
          </a:xfrm>
          <a:prstGeom prst="rect">
            <a:avLst/>
          </a:prstGeom>
          <a:no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200" dirty="0" smtClean="0">
                <a:solidFill>
                  <a:srgbClr val="68B022"/>
                </a:solidFill>
              </a:rPr>
              <a:t>De interesse principal</a:t>
            </a:r>
            <a:endParaRPr lang="fr-FR" sz="1200" dirty="0">
              <a:solidFill>
                <a:srgbClr val="68B022"/>
              </a:solidFill>
            </a:endParaRPr>
          </a:p>
        </p:txBody>
      </p:sp>
      <p:sp>
        <p:nvSpPr>
          <p:cNvPr id="6" name="Rectangle 5"/>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pic>
        <p:nvPicPr>
          <p:cNvPr id="14" name="Image 13"/>
          <p:cNvPicPr>
            <a:picLocks noChangeAspect="1"/>
          </p:cNvPicPr>
          <p:nvPr/>
        </p:nvPicPr>
        <p:blipFill rotWithShape="1">
          <a:blip r:embed="rId2">
            <a:extLst>
              <a:ext uri="{28A0092B-C50C-407E-A947-70E740481C1C}">
                <a14:useLocalDpi xmlns:a14="http://schemas.microsoft.com/office/drawing/2010/main" val="0"/>
              </a:ext>
            </a:extLst>
          </a:blip>
          <a:srcRect l="22851" r="28501" b="24263"/>
          <a:stretch>
            <a:fillRect/>
          </a:stretch>
        </p:blipFill>
        <p:spPr>
          <a:xfrm rot="11359389">
            <a:off x="3863107" y="1913148"/>
            <a:ext cx="413591" cy="643898"/>
          </a:xfrm>
          <a:prstGeom prst="rect">
            <a:avLst/>
          </a:prstGeom>
        </p:spPr>
      </p:pic>
      <p:pic>
        <p:nvPicPr>
          <p:cNvPr id="26" name="Imag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6819" y="2320354"/>
            <a:ext cx="637806" cy="637806"/>
          </a:xfrm>
          <a:prstGeom prst="rect">
            <a:avLst/>
          </a:prstGeom>
        </p:spPr>
      </p:pic>
      <p:pic>
        <p:nvPicPr>
          <p:cNvPr id="27" name="Image 26"/>
          <p:cNvPicPr>
            <a:picLocks noChangeAspect="1"/>
          </p:cNvPicPr>
          <p:nvPr/>
        </p:nvPicPr>
        <p:blipFill rotWithShape="1">
          <a:blip r:embed="rId4">
            <a:extLst>
              <a:ext uri="{28A0092B-C50C-407E-A947-70E740481C1C}">
                <a14:useLocalDpi xmlns:a14="http://schemas.microsoft.com/office/drawing/2010/main" val="0"/>
              </a:ext>
            </a:extLst>
          </a:blip>
          <a:srcRect l="32724" r="30185" b="20923"/>
          <a:stretch>
            <a:fillRect/>
          </a:stretch>
        </p:blipFill>
        <p:spPr>
          <a:xfrm>
            <a:off x="5992077" y="3141737"/>
            <a:ext cx="396461" cy="845254"/>
          </a:xfrm>
          <a:prstGeom prst="rect">
            <a:avLst/>
          </a:prstGeom>
        </p:spPr>
      </p:pic>
      <p:pic>
        <p:nvPicPr>
          <p:cNvPr id="28" name="Image 27"/>
          <p:cNvPicPr>
            <a:picLocks noChangeAspect="1"/>
          </p:cNvPicPr>
          <p:nvPr/>
        </p:nvPicPr>
        <p:blipFill rotWithShape="1">
          <a:blip r:embed="rId5">
            <a:extLst>
              <a:ext uri="{28A0092B-C50C-407E-A947-70E740481C1C}">
                <a14:useLocalDpi xmlns:a14="http://schemas.microsoft.com/office/drawing/2010/main" val="0"/>
              </a:ext>
            </a:extLst>
          </a:blip>
          <a:srcRect b="22087"/>
          <a:stretch>
            <a:fillRect/>
          </a:stretch>
        </p:blipFill>
        <p:spPr>
          <a:xfrm>
            <a:off x="4978775" y="2350336"/>
            <a:ext cx="637806" cy="496934"/>
          </a:xfrm>
          <a:prstGeom prst="rect">
            <a:avLst/>
          </a:prstGeom>
        </p:spPr>
      </p:pic>
      <p:pic>
        <p:nvPicPr>
          <p:cNvPr id="29" name="Image 28"/>
          <p:cNvPicPr>
            <a:picLocks noChangeAspect="1"/>
          </p:cNvPicPr>
          <p:nvPr/>
        </p:nvPicPr>
        <p:blipFill rotWithShape="1">
          <a:blip r:embed="rId2">
            <a:extLst>
              <a:ext uri="{28A0092B-C50C-407E-A947-70E740481C1C}">
                <a14:useLocalDpi xmlns:a14="http://schemas.microsoft.com/office/drawing/2010/main" val="0"/>
              </a:ext>
            </a:extLst>
          </a:blip>
          <a:srcRect l="22851" r="28501" b="24263"/>
          <a:stretch>
            <a:fillRect/>
          </a:stretch>
        </p:blipFill>
        <p:spPr>
          <a:xfrm rot="10381095" flipH="1">
            <a:off x="4815178" y="1887329"/>
            <a:ext cx="438319" cy="682395"/>
          </a:xfrm>
          <a:prstGeom prst="rect">
            <a:avLst/>
          </a:prstGeom>
        </p:spPr>
      </p:pic>
      <p:pic>
        <p:nvPicPr>
          <p:cNvPr id="32" name="Image 31"/>
          <p:cNvPicPr>
            <a:picLocks noChangeAspect="1"/>
          </p:cNvPicPr>
          <p:nvPr/>
        </p:nvPicPr>
        <p:blipFill rotWithShape="1">
          <a:blip r:embed="rId2">
            <a:extLst>
              <a:ext uri="{28A0092B-C50C-407E-A947-70E740481C1C}">
                <a14:useLocalDpi xmlns:a14="http://schemas.microsoft.com/office/drawing/2010/main" val="0"/>
              </a:ext>
            </a:extLst>
          </a:blip>
          <a:srcRect l="22851" r="28501" b="24263"/>
          <a:stretch>
            <a:fillRect/>
          </a:stretch>
        </p:blipFill>
        <p:spPr>
          <a:xfrm rot="10381095" flipH="1">
            <a:off x="5418239" y="2729246"/>
            <a:ext cx="514773" cy="801422"/>
          </a:xfrm>
          <a:prstGeom prst="rect">
            <a:avLst/>
          </a:prstGeom>
        </p:spPr>
      </p:pic>
      <p:pic>
        <p:nvPicPr>
          <p:cNvPr id="33" name="Image 32"/>
          <p:cNvPicPr>
            <a:picLocks noChangeAspect="1"/>
          </p:cNvPicPr>
          <p:nvPr/>
        </p:nvPicPr>
        <p:blipFill rotWithShape="1">
          <a:blip r:embed="rId2">
            <a:extLst>
              <a:ext uri="{28A0092B-C50C-407E-A947-70E740481C1C}">
                <a14:useLocalDpi xmlns:a14="http://schemas.microsoft.com/office/drawing/2010/main" val="0"/>
              </a:ext>
            </a:extLst>
          </a:blip>
          <a:srcRect l="22851" r="28501" b="24263"/>
          <a:stretch>
            <a:fillRect/>
          </a:stretch>
        </p:blipFill>
        <p:spPr>
          <a:xfrm rot="11359389">
            <a:off x="2985107" y="2824016"/>
            <a:ext cx="514773" cy="801422"/>
          </a:xfrm>
          <a:prstGeom prst="rect">
            <a:avLst/>
          </a:prstGeom>
        </p:spPr>
      </p:pic>
      <p:pic>
        <p:nvPicPr>
          <p:cNvPr id="35" name="Image 34"/>
          <p:cNvPicPr>
            <a:picLocks noChangeAspect="1"/>
          </p:cNvPicPr>
          <p:nvPr/>
        </p:nvPicPr>
        <p:blipFill rotWithShape="1">
          <a:blip r:embed="rId6">
            <a:extLst>
              <a:ext uri="{28A0092B-C50C-407E-A947-70E740481C1C}">
                <a14:useLocalDpi xmlns:a14="http://schemas.microsoft.com/office/drawing/2010/main" val="0"/>
              </a:ext>
            </a:extLst>
          </a:blip>
          <a:srcRect b="21699"/>
          <a:stretch>
            <a:fillRect/>
          </a:stretch>
        </p:blipFill>
        <p:spPr>
          <a:xfrm>
            <a:off x="3123055" y="3788011"/>
            <a:ext cx="616283" cy="482558"/>
          </a:xfrm>
          <a:prstGeom prst="rect">
            <a:avLst/>
          </a:prstGeom>
        </p:spPr>
      </p:pic>
      <p:pic>
        <p:nvPicPr>
          <p:cNvPr id="37" name="Image 36"/>
          <p:cNvPicPr>
            <a:picLocks noChangeAspect="1"/>
          </p:cNvPicPr>
          <p:nvPr/>
        </p:nvPicPr>
        <p:blipFill rotWithShape="1">
          <a:blip r:embed="rId7">
            <a:extLst>
              <a:ext uri="{28A0092B-C50C-407E-A947-70E740481C1C}">
                <a14:useLocalDpi xmlns:a14="http://schemas.microsoft.com/office/drawing/2010/main" val="0"/>
              </a:ext>
            </a:extLst>
          </a:blip>
          <a:srcRect b="14251"/>
          <a:stretch>
            <a:fillRect/>
          </a:stretch>
        </p:blipFill>
        <p:spPr>
          <a:xfrm>
            <a:off x="6413100" y="3174233"/>
            <a:ext cx="985739" cy="845254"/>
          </a:xfrm>
          <a:prstGeom prst="rect">
            <a:avLst/>
          </a:prstGeom>
        </p:spPr>
      </p:pic>
      <p:pic>
        <p:nvPicPr>
          <p:cNvPr id="39" name="Image 38"/>
          <p:cNvPicPr>
            <a:picLocks noChangeAspect="1"/>
          </p:cNvPicPr>
          <p:nvPr/>
        </p:nvPicPr>
        <p:blipFill rotWithShape="1">
          <a:blip r:embed="rId8">
            <a:extLst>
              <a:ext uri="{28A0092B-C50C-407E-A947-70E740481C1C}">
                <a14:useLocalDpi xmlns:a14="http://schemas.microsoft.com/office/drawing/2010/main" val="0"/>
              </a:ext>
            </a:extLst>
          </a:blip>
          <a:srcRect b="13763"/>
          <a:stretch>
            <a:fillRect/>
          </a:stretch>
        </p:blipFill>
        <p:spPr>
          <a:xfrm>
            <a:off x="2317026" y="3579665"/>
            <a:ext cx="878036" cy="757187"/>
          </a:xfrm>
          <a:prstGeom prst="rect">
            <a:avLst/>
          </a:prstGeom>
        </p:spPr>
      </p:pic>
      <p:sp>
        <p:nvSpPr>
          <p:cNvPr id="15" name="Rectangle 14"/>
          <p:cNvSpPr/>
          <p:nvPr/>
        </p:nvSpPr>
        <p:spPr>
          <a:xfrm>
            <a:off x="-44559" y="3125977"/>
            <a:ext cx="2374670" cy="1100301"/>
          </a:xfrm>
          <a:prstGeom prst="rect">
            <a:avLst/>
          </a:prstGeom>
          <a:solidFill>
            <a:srgbClr val="D9E8C3"/>
          </a:solidFill>
        </p:spPr>
        <p:txBody>
          <a:bodyPr wrap="square" lIns="68580" tIns="34290" rIns="68580" bIns="34290">
            <a:spAutoFit/>
          </a:bodyPr>
          <a:lstStyle/>
          <a:p>
            <a:pPr algn="ctr" defTabSz="685800">
              <a:defRPr/>
            </a:pPr>
            <a:r>
              <a:rPr lang="pt-BR" sz="1200" b="1" dirty="0" smtClean="0">
                <a:solidFill>
                  <a:srgbClr val="68B222"/>
                </a:solidFill>
                <a:latin typeface="Arial" panose="020B0604020202020204"/>
              </a:rPr>
              <a:t>Produto </a:t>
            </a:r>
            <a:r>
              <a:rPr lang="pt-BR" sz="1200" b="1" dirty="0">
                <a:solidFill>
                  <a:srgbClr val="68B222"/>
                </a:solidFill>
                <a:latin typeface="Arial" panose="020B0604020202020204"/>
              </a:rPr>
              <a:t>secundário</a:t>
            </a:r>
            <a:r>
              <a:rPr lang="pt-BR" sz="1100" dirty="0">
                <a:solidFill>
                  <a:prstClr val="black"/>
                </a:solidFill>
              </a:rPr>
              <a:t> não planejado derivado de um processo de fabricação ou reação química, não é o produto primário sendo produzido e é na maioria das vezes um produto indesejável.</a:t>
            </a:r>
            <a:endParaRPr lang="en-GB" sz="1100" dirty="0">
              <a:solidFill>
                <a:prstClr val="black"/>
              </a:solidFill>
              <a:latin typeface="Arial" panose="020B0604020202020204"/>
            </a:endParaRPr>
          </a:p>
        </p:txBody>
      </p:sp>
      <p:sp>
        <p:nvSpPr>
          <p:cNvPr id="9" name="ZoneTexte 8"/>
          <p:cNvSpPr txBox="1"/>
          <p:nvPr/>
        </p:nvSpPr>
        <p:spPr>
          <a:xfrm>
            <a:off x="0" y="1093116"/>
            <a:ext cx="9144000" cy="623248"/>
          </a:xfrm>
          <a:prstGeom prst="rect">
            <a:avLst/>
          </a:prstGeom>
          <a:solidFill>
            <a:srgbClr val="D9E8C3"/>
          </a:solidFill>
        </p:spPr>
        <p:txBody>
          <a:bodyPr wrap="square" lIns="68580" tIns="34290" rIns="68580" bIns="34290" rtlCol="0">
            <a:spAutoFit/>
          </a:bodyPr>
          <a:lstStyle/>
          <a:p>
            <a:pPr algn="ctr" defTabSz="685800">
              <a:defRPr/>
            </a:pPr>
            <a:r>
              <a:rPr lang="pt-BR" sz="1200" dirty="0" smtClean="0">
                <a:solidFill>
                  <a:prstClr val="black"/>
                </a:solidFill>
              </a:rPr>
              <a:t>Integra </a:t>
            </a:r>
            <a:r>
              <a:rPr lang="pt-BR" sz="1200" dirty="0">
                <a:solidFill>
                  <a:prstClr val="black"/>
                </a:solidFill>
              </a:rPr>
              <a:t>componentes e materiais descartados </a:t>
            </a:r>
            <a:r>
              <a:rPr lang="pt-BR" b="1" dirty="0">
                <a:solidFill>
                  <a:srgbClr val="68B022"/>
                </a:solidFill>
                <a:latin typeface="Arial" panose="020B0604020202020204"/>
              </a:rPr>
              <a:t>que não são mais necessários</a:t>
            </a:r>
            <a:r>
              <a:rPr lang="pt-BR" sz="1200" dirty="0">
                <a:solidFill>
                  <a:prstClr val="black"/>
                </a:solidFill>
              </a:rPr>
              <a:t> em uma nova gama de diversos produtos dentro de ciclos de malha aberta com </a:t>
            </a:r>
            <a:r>
              <a:rPr lang="pt-BR" b="1" dirty="0">
                <a:solidFill>
                  <a:srgbClr val="68B022"/>
                </a:solidFill>
                <a:latin typeface="Arial" panose="020B0604020202020204"/>
              </a:rPr>
              <a:t>valor </a:t>
            </a:r>
            <a:r>
              <a:rPr lang="pt-BR" b="1" dirty="0" smtClean="0">
                <a:solidFill>
                  <a:srgbClr val="68B022"/>
                </a:solidFill>
                <a:latin typeface="Arial" panose="020B0604020202020204"/>
              </a:rPr>
              <a:t>agregado.</a:t>
            </a:r>
            <a:endParaRPr lang="en-GB" b="1" dirty="0">
              <a:solidFill>
                <a:srgbClr val="68B022"/>
              </a:solidFill>
              <a:latin typeface="Arial" panose="020B0604020202020204"/>
            </a:endParaRPr>
          </a:p>
        </p:txBody>
      </p:sp>
      <p:sp>
        <p:nvSpPr>
          <p:cNvPr id="10" name="ZoneTexte 9"/>
          <p:cNvSpPr txBox="1"/>
          <p:nvPr/>
        </p:nvSpPr>
        <p:spPr>
          <a:xfrm>
            <a:off x="-2241976" y="777782"/>
            <a:ext cx="346435" cy="489581"/>
          </a:xfrm>
          <a:prstGeom prst="rect">
            <a:avLst/>
          </a:prstGeom>
          <a:noFill/>
        </p:spPr>
        <p:txBody>
          <a:bodyPr wrap="square" lIns="0" tIns="0" rIns="0" bIns="0" rtlCol="0">
            <a:noAutofit/>
          </a:bodyPr>
          <a:lstStyle/>
          <a:p>
            <a:r>
              <a:rPr lang="fr-FR" sz="8600">
                <a:solidFill>
                  <a:srgbClr val="68B022"/>
                </a:solidFill>
              </a:rPr>
              <a:t>‘</a:t>
            </a:r>
            <a:endParaRPr lang="fr-FR" sz="8600">
              <a:solidFill>
                <a:srgbClr val="68B022"/>
              </a:solidFill>
            </a:endParaRPr>
          </a:p>
        </p:txBody>
      </p:sp>
      <p:sp>
        <p:nvSpPr>
          <p:cNvPr id="12" name="ZoneTexte 11"/>
          <p:cNvSpPr txBox="1"/>
          <p:nvPr/>
        </p:nvSpPr>
        <p:spPr>
          <a:xfrm>
            <a:off x="2317026" y="4466512"/>
            <a:ext cx="6303837" cy="229517"/>
          </a:xfrm>
          <a:prstGeom prst="rect">
            <a:avLst/>
          </a:prstGeom>
          <a:noFill/>
        </p:spPr>
        <p:txBody>
          <a:bodyPr wrap="square" lIns="0" tIns="0" rIns="0" bIns="0" rtlCol="0">
            <a:noAutofit/>
          </a:bodyPr>
          <a:lstStyle/>
          <a:p>
            <a:r>
              <a:rPr lang="pt-BR" sz="1200" b="1" dirty="0" smtClean="0">
                <a:highlight>
                  <a:srgbClr val="D9E8C3"/>
                </a:highlight>
              </a:rPr>
              <a:t>Indústria Alimentícia: ajuda a reduzir o desperdício dos alimentos.</a:t>
            </a:r>
            <a:endParaRPr lang="pt-BR" sz="1200" b="1" dirty="0" smtClean="0">
              <a:highlight>
                <a:srgbClr val="D9E8C3"/>
              </a:highlight>
            </a:endParaRPr>
          </a:p>
          <a:p>
            <a:r>
              <a:rPr lang="pt-BR" sz="1200" b="1" dirty="0" smtClean="0">
                <a:highlight>
                  <a:srgbClr val="D9E8C3"/>
                </a:highlight>
              </a:rPr>
              <a:t>Subprodutos </a:t>
            </a:r>
            <a:r>
              <a:rPr lang="pt-BR" sz="1200" b="1" dirty="0">
                <a:highlight>
                  <a:srgbClr val="D9E8C3"/>
                </a:highlight>
              </a:rPr>
              <a:t>para cosméticos: valor agregado com compostos de interesse</a:t>
            </a:r>
            <a:endParaRPr lang="fr-FR" sz="1200" b="1" dirty="0">
              <a:highlight>
                <a:srgbClr val="D9E8C3"/>
              </a:highlight>
            </a:endParaRPr>
          </a:p>
        </p:txBody>
      </p:sp>
      <p:sp>
        <p:nvSpPr>
          <p:cNvPr id="16" name="ZoneTexte 15"/>
          <p:cNvSpPr txBox="1"/>
          <p:nvPr/>
        </p:nvSpPr>
        <p:spPr>
          <a:xfrm>
            <a:off x="-41360" y="652478"/>
            <a:ext cx="346435" cy="489581"/>
          </a:xfrm>
          <a:prstGeom prst="rect">
            <a:avLst/>
          </a:prstGeom>
          <a:noFill/>
        </p:spPr>
        <p:txBody>
          <a:bodyPr wrap="square" lIns="0" tIns="0" rIns="0" bIns="0" rtlCol="0">
            <a:noAutofit/>
          </a:bodyPr>
          <a:lstStyle/>
          <a:p>
            <a:r>
              <a:rPr lang="fr-FR" sz="8600" dirty="0">
                <a:solidFill>
                  <a:srgbClr val="68B022"/>
                </a:solidFill>
              </a:rPr>
              <a:t>‘</a:t>
            </a:r>
            <a:endParaRPr lang="fr-FR" sz="8600" dirty="0">
              <a:solidFill>
                <a:srgbClr val="68B022"/>
              </a:solidFill>
            </a:endParaRPr>
          </a:p>
        </p:txBody>
      </p:sp>
      <p:sp>
        <p:nvSpPr>
          <p:cNvPr id="18" name="ZoneTexte 17"/>
          <p:cNvSpPr txBox="1"/>
          <p:nvPr/>
        </p:nvSpPr>
        <p:spPr>
          <a:xfrm>
            <a:off x="7065756" y="1389141"/>
            <a:ext cx="346435" cy="489581"/>
          </a:xfrm>
          <a:prstGeom prst="rect">
            <a:avLst/>
          </a:prstGeom>
          <a:noFill/>
        </p:spPr>
        <p:txBody>
          <a:bodyPr wrap="square" lIns="0" tIns="0" rIns="0" bIns="0" rtlCol="0">
            <a:noAutofit/>
          </a:bodyPr>
          <a:lstStyle/>
          <a:p>
            <a:r>
              <a:rPr lang="fr-FR" sz="8600" dirty="0">
                <a:solidFill>
                  <a:srgbClr val="68B022"/>
                </a:solidFill>
              </a:rPr>
              <a:t>’</a:t>
            </a:r>
            <a:endParaRPr lang="fr-FR" sz="8600" dirty="0">
              <a:solidFill>
                <a:srgbClr val="68B022"/>
              </a:solidFill>
            </a:endParaRPr>
          </a:p>
        </p:txBody>
      </p:sp>
      <p:pic>
        <p:nvPicPr>
          <p:cNvPr id="25" name="Image 24"/>
          <p:cNvPicPr>
            <a:picLocks noChangeAspect="1"/>
          </p:cNvPicPr>
          <p:nvPr/>
        </p:nvPicPr>
        <p:blipFill rotWithShape="1">
          <a:blip r:embed="rId9">
            <a:extLst>
              <a:ext uri="{28A0092B-C50C-407E-A947-70E740481C1C}">
                <a14:useLocalDpi xmlns:a14="http://schemas.microsoft.com/office/drawing/2010/main" val="0"/>
              </a:ext>
            </a:extLst>
          </a:blip>
          <a:srcRect t="9679" b="14324"/>
          <a:stretch>
            <a:fillRect/>
          </a:stretch>
        </p:blipFill>
        <p:spPr>
          <a:xfrm flipH="1">
            <a:off x="1520467" y="4336852"/>
            <a:ext cx="809645" cy="615305"/>
          </a:xfrm>
          <a:prstGeom prst="rect">
            <a:avLst/>
          </a:prstGeom>
        </p:spPr>
      </p:pic>
      <p:pic>
        <p:nvPicPr>
          <p:cNvPr id="31" name="Image 30"/>
          <p:cNvPicPr>
            <a:picLocks noChangeAspect="1"/>
          </p:cNvPicPr>
          <p:nvPr/>
        </p:nvPicPr>
        <p:blipFill rotWithShape="1">
          <a:blip r:embed="rId10">
            <a:extLst>
              <a:ext uri="{28A0092B-C50C-407E-A947-70E740481C1C}">
                <a14:useLocalDpi xmlns:a14="http://schemas.microsoft.com/office/drawing/2010/main" val="0"/>
              </a:ext>
            </a:extLst>
          </a:blip>
          <a:srcRect b="15143"/>
          <a:stretch>
            <a:fillRect/>
          </a:stretch>
        </p:blipFill>
        <p:spPr>
          <a:xfrm>
            <a:off x="4168806" y="1658154"/>
            <a:ext cx="786146" cy="667102"/>
          </a:xfrm>
          <a:prstGeom prst="rect">
            <a:avLst/>
          </a:prstGeom>
        </p:spPr>
      </p:pic>
      <p:sp>
        <p:nvSpPr>
          <p:cNvPr id="40" name="Rogner un rectangle à un seul coin 9"/>
          <p:cNvSpPr/>
          <p:nvPr/>
        </p:nvSpPr>
        <p:spPr>
          <a:xfrm>
            <a:off x="6019800" y="182880"/>
            <a:ext cx="1233170" cy="789078"/>
          </a:xfrm>
          <a:prstGeom prst="snip1Rect">
            <a:avLst>
              <a:gd name="adj" fmla="val 7898"/>
            </a:avLst>
          </a:prstGeom>
          <a:solidFill>
            <a:srgbClr val="F3E9E5">
              <a:alpha val="50196"/>
            </a:srgbClr>
          </a:solidFill>
          <a:ln>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DESPERDÍCIO ZERO</a:t>
            </a:r>
            <a:endParaRPr lang="fr-FR" sz="1100" dirty="0">
              <a:solidFill>
                <a:srgbClr val="007734"/>
              </a:solidFill>
            </a:endParaRPr>
          </a:p>
        </p:txBody>
      </p:sp>
      <p:pic>
        <p:nvPicPr>
          <p:cNvPr id="41" name="Picture 2" descr="C:\Users\uinhv\Downloads\shutterstock_1435675721.jpg"/>
          <p:cNvPicPr>
            <a:picLocks noChangeAspect="1" noChangeArrowheads="1"/>
          </p:cNvPicPr>
          <p:nvPr/>
        </p:nvPicPr>
        <p:blipFill rotWithShape="1">
          <a:blip r:embed="rId11" cstate="print">
            <a:clrChange>
              <a:clrFrom>
                <a:srgbClr val="FFFFFF"/>
              </a:clrFrom>
              <a:clrTo>
                <a:srgbClr val="FFFFFF">
                  <a:alpha val="0"/>
                </a:srgbClr>
              </a:clrTo>
            </a:clrChange>
            <a:extLst>
              <a:ext uri="{BEBA8EAE-BF5A-486C-A8C5-ECC9F3942E4B}">
                <a14:imgProps xmlns:a14="http://schemas.microsoft.com/office/drawing/2010/main">
                  <a14:imgLayer r:embed="rId12">
                    <a14:imgEffect>
                      <a14:backgroundRemoval t="29666" b="47741" l="29260" r="47696">
                        <a14:foregroundMark x1="31626" y1="41425" x2="31403" y2="37082"/>
                        <a14:foregroundMark x1="40535" y1="45546" x2="42762" y2="43653"/>
                      </a14:backgroundRemoval>
                    </a14:imgEffect>
                    <a14:imgEffect>
                      <a14:brightnessContrast contrast="-20000"/>
                    </a14:imgEffect>
                  </a14:imgLayer>
                </a14:imgProps>
              </a:ext>
            </a:extLst>
          </a:blip>
          <a:srcRect l="26955" t="27407" r="50000" b="50000"/>
          <a:stretch>
            <a:fillRect/>
          </a:stretch>
        </p:blipFill>
        <p:spPr bwMode="auto">
          <a:xfrm>
            <a:off x="6830274" y="747481"/>
            <a:ext cx="457947" cy="44895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zoom/>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199" y="495757"/>
            <a:ext cx="5808133" cy="165894"/>
          </a:xfrm>
          <a:noFill/>
          <a:ln>
            <a:noFill/>
          </a:ln>
        </p:spPr>
        <p:txBody>
          <a:bodyPr vert="horz" wrap="square" lIns="0" tIns="0" rIns="0" bIns="0" numCol="1" anchor="ctr" anchorCtr="0" compatLnSpc="1"/>
          <a:lstStyle/>
          <a:p>
            <a:r>
              <a:rPr lang="de-DE" dirty="0"/>
              <a:t>Foodflow</a:t>
            </a:r>
            <a:r>
              <a:rPr lang="en-US" baseline="30000" dirty="0">
                <a:solidFill>
                  <a:prstClr val="black"/>
                </a:solidFill>
              </a:rPr>
              <a:t>®</a:t>
            </a:r>
            <a:endParaRPr lang="fr-FR" dirty="0"/>
          </a:p>
        </p:txBody>
      </p:sp>
      <p:sp>
        <p:nvSpPr>
          <p:cNvPr id="3" name="Espace réservé du numéro de diapositive 2"/>
          <p:cNvSpPr>
            <a:spLocks noGrp="1"/>
          </p:cNvSpPr>
          <p:nvPr>
            <p:ph type="sldNum" sz="quarter" idx="12"/>
          </p:nvPr>
        </p:nvSpPr>
        <p:spPr>
          <a:xfrm>
            <a:off x="8100352" y="4681303"/>
            <a:ext cx="468577" cy="177799"/>
          </a:xfrm>
        </p:spPr>
        <p:txBody>
          <a:bodyPr/>
          <a:lstStyle/>
          <a:p>
            <a:fld id="{8AD48C63-78A6-4D64-B839-4870EFEB9C13}" type="slidenum">
              <a:rPr lang="en-US" smtClean="0">
                <a:solidFill>
                  <a:srgbClr val="878787"/>
                </a:solidFill>
              </a:rPr>
            </a:fld>
            <a:endParaRPr lang="en-US">
              <a:solidFill>
                <a:srgbClr val="878787"/>
              </a:solidFill>
            </a:endParaRPr>
          </a:p>
        </p:txBody>
      </p:sp>
      <p:sp>
        <p:nvSpPr>
          <p:cNvPr id="4" name="Sous-titre 3"/>
          <p:cNvSpPr>
            <a:spLocks noGrp="1"/>
          </p:cNvSpPr>
          <p:nvPr>
            <p:ph type="subTitle" idx="1"/>
          </p:nvPr>
        </p:nvSpPr>
        <p:spPr>
          <a:xfrm>
            <a:off x="457202" y="692064"/>
            <a:ext cx="5808133" cy="288000"/>
          </a:xfrm>
          <a:noFill/>
          <a:ln>
            <a:noFill/>
          </a:ln>
        </p:spPr>
        <p:txBody>
          <a:bodyPr vert="horz" wrap="square" lIns="0" tIns="0" rIns="0" bIns="0" numCol="1" anchor="t" anchorCtr="0" compatLnSpc="1"/>
          <a:lstStyle/>
          <a:p>
            <a:r>
              <a:rPr lang="fr-FR" dirty="0">
                <a:solidFill>
                  <a:srgbClr val="FF0066"/>
                </a:solidFill>
              </a:rPr>
              <a:t>Engajamento</a:t>
            </a:r>
            <a:endParaRPr lang="fr-FR" dirty="0">
              <a:solidFill>
                <a:srgbClr val="FF0066"/>
              </a:solidFill>
            </a:endParaRPr>
          </a:p>
        </p:txBody>
      </p:sp>
      <p:sp>
        <p:nvSpPr>
          <p:cNvPr id="8" name="ZoneTexte 7"/>
          <p:cNvSpPr txBox="1"/>
          <p:nvPr/>
        </p:nvSpPr>
        <p:spPr>
          <a:xfrm>
            <a:off x="886312" y="1681079"/>
            <a:ext cx="6236232" cy="915635"/>
          </a:xfrm>
          <a:prstGeom prst="rect">
            <a:avLst/>
          </a:prstGeom>
          <a:noFill/>
        </p:spPr>
        <p:txBody>
          <a:bodyPr wrap="square" lIns="68580" tIns="34290" rIns="68580" bIns="34290">
            <a:spAutoFit/>
          </a:bodyPr>
          <a:lstStyle/>
          <a:p>
            <a:pPr marL="214630" indent="-214630">
              <a:buClr>
                <a:srgbClr val="68B022"/>
              </a:buClr>
              <a:buFont typeface="Arial" panose="020B0604020202020204" pitchFamily="34" charset="0"/>
              <a:buChar char="→"/>
            </a:pPr>
            <a:r>
              <a:rPr lang="pt-BR" sz="1100" dirty="0">
                <a:latin typeface="+mj-lt"/>
                <a:cs typeface="Times New Roman" panose="02020603050405020304" pitchFamily="18" charset="0"/>
              </a:rPr>
              <a:t>Serviços sociais básicos: saúde e saneamento entre a comunidade com práticas identificadas que afetam a saúde geral e o </a:t>
            </a:r>
            <a:r>
              <a:rPr lang="pt-BR" sz="1100" dirty="0" smtClean="0">
                <a:latin typeface="+mj-lt"/>
                <a:cs typeface="Times New Roman" panose="02020603050405020304" pitchFamily="18" charset="0"/>
              </a:rPr>
              <a:t>bem-estar.</a:t>
            </a:r>
            <a:endParaRPr lang="pt-BR" sz="1100" dirty="0" smtClean="0">
              <a:latin typeface="+mj-lt"/>
              <a:cs typeface="Times New Roman" panose="02020603050405020304" pitchFamily="18" charset="0"/>
            </a:endParaRPr>
          </a:p>
          <a:p>
            <a:pPr marL="214630" indent="-214630">
              <a:buClr>
                <a:srgbClr val="68B022"/>
              </a:buClr>
              <a:buFont typeface="Arial" panose="020B0604020202020204" pitchFamily="34" charset="0"/>
              <a:buChar char="→"/>
            </a:pPr>
            <a:r>
              <a:rPr lang="pt-BR" sz="1100" dirty="0" err="1" smtClean="0">
                <a:ea typeface="Times New Roman" panose="02020603050405020304" pitchFamily="18" charset="0"/>
                <a:cs typeface="Times New Roman" panose="02020603050405020304" pitchFamily="18" charset="0"/>
                <a:sym typeface="Wingdings" panose="05000000000000000000" pitchFamily="2" charset="2"/>
              </a:rPr>
              <a:t>Empoderamento</a:t>
            </a:r>
            <a:r>
              <a:rPr lang="pt-BR" sz="1100" dirty="0" smtClean="0">
                <a:ea typeface="Times New Roman" panose="02020603050405020304" pitchFamily="18" charset="0"/>
                <a:cs typeface="Times New Roman" panose="02020603050405020304" pitchFamily="18" charset="0"/>
                <a:sym typeface="Wingdings" panose="05000000000000000000" pitchFamily="2" charset="2"/>
              </a:rPr>
              <a:t> </a:t>
            </a:r>
            <a:r>
              <a:rPr lang="pt-BR" sz="1100" dirty="0">
                <a:ea typeface="Times New Roman" panose="02020603050405020304" pitchFamily="18" charset="0"/>
                <a:cs typeface="Times New Roman" panose="02020603050405020304" pitchFamily="18" charset="0"/>
                <a:sym typeface="Wingdings" panose="05000000000000000000" pitchFamily="2" charset="2"/>
              </a:rPr>
              <a:t>de jovens e mulheres na comunidade integrando o programa de aprimoramento de liderança em comunidades e </a:t>
            </a:r>
            <a:r>
              <a:rPr lang="pt-BR" sz="1100" dirty="0" smtClean="0">
                <a:ea typeface="Times New Roman" panose="02020603050405020304" pitchFamily="18" charset="0"/>
                <a:cs typeface="Times New Roman" panose="02020603050405020304" pitchFamily="18" charset="0"/>
                <a:sym typeface="Wingdings" panose="05000000000000000000" pitchFamily="2" charset="2"/>
              </a:rPr>
              <a:t>associações e criando novos empregos.</a:t>
            </a:r>
            <a:endParaRPr lang="pt-BR" sz="1100" dirty="0">
              <a:ea typeface="Times New Roman" panose="02020603050405020304" pitchFamily="18" charset="0"/>
              <a:cs typeface="Times New Roman" panose="02020603050405020304" pitchFamily="18" charset="0"/>
              <a:sym typeface="Wingdings" panose="05000000000000000000" pitchFamily="2" charset="2"/>
            </a:endParaRPr>
          </a:p>
          <a:p>
            <a:pPr marL="214630" indent="-214630">
              <a:buClr>
                <a:srgbClr val="68B022"/>
              </a:buClr>
              <a:buFont typeface="Arial" panose="020B0604020202020204" pitchFamily="34" charset="0"/>
              <a:buChar char="→"/>
            </a:pPr>
            <a:endParaRPr lang="fr-FR" sz="1100" dirty="0">
              <a:latin typeface="+mj-lt"/>
            </a:endParaRPr>
          </a:p>
        </p:txBody>
      </p:sp>
      <p:sp>
        <p:nvSpPr>
          <p:cNvPr id="5" name="Rectangle 4"/>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7" name="Rectangle 6"/>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p>
        </p:txBody>
      </p:sp>
      <p:sp>
        <p:nvSpPr>
          <p:cNvPr id="9" name="ZoneTexte 8"/>
          <p:cNvSpPr txBox="1"/>
          <p:nvPr/>
        </p:nvSpPr>
        <p:spPr>
          <a:xfrm>
            <a:off x="868680" y="1424902"/>
            <a:ext cx="2942288" cy="235424"/>
          </a:xfrm>
          <a:prstGeom prst="rect">
            <a:avLst/>
          </a:prstGeom>
          <a:noFill/>
        </p:spPr>
        <p:txBody>
          <a:bodyPr wrap="square" lIns="0" tIns="0" rIns="0" bIns="0" rtlCol="0">
            <a:noAutofit/>
          </a:bodyPr>
          <a:lstStyle/>
          <a:p>
            <a:r>
              <a:rPr lang="fr-FR" sz="1500" b="1" dirty="0">
                <a:highlight>
                  <a:srgbClr val="D9E8C3"/>
                </a:highlight>
              </a:rPr>
              <a:t>Suporte social</a:t>
            </a:r>
            <a:endParaRPr lang="fr-FR" sz="1500" b="1" dirty="0">
              <a:highlight>
                <a:srgbClr val="D9E8C3"/>
              </a:highlight>
            </a:endParaRPr>
          </a:p>
        </p:txBody>
      </p:sp>
      <p:sp>
        <p:nvSpPr>
          <p:cNvPr id="10" name="ZoneTexte 9"/>
          <p:cNvSpPr txBox="1"/>
          <p:nvPr/>
        </p:nvSpPr>
        <p:spPr>
          <a:xfrm>
            <a:off x="868680" y="2659665"/>
            <a:ext cx="2942288" cy="235424"/>
          </a:xfrm>
          <a:prstGeom prst="rect">
            <a:avLst/>
          </a:prstGeom>
          <a:noFill/>
        </p:spPr>
        <p:txBody>
          <a:bodyPr wrap="square" lIns="0" tIns="0" rIns="0" bIns="0" rtlCol="0">
            <a:noAutofit/>
          </a:bodyPr>
          <a:lstStyle/>
          <a:p>
            <a:r>
              <a:rPr lang="fr-FR" sz="1500" b="1" dirty="0" smtClean="0">
                <a:highlight>
                  <a:srgbClr val="D9E8C3"/>
                </a:highlight>
              </a:rPr>
              <a:t>Parceria </a:t>
            </a:r>
            <a:endParaRPr lang="fr-FR" sz="1500" b="1" dirty="0">
              <a:highlight>
                <a:srgbClr val="D9E8C3"/>
              </a:highlight>
            </a:endParaRPr>
          </a:p>
        </p:txBody>
      </p:sp>
      <p:sp>
        <p:nvSpPr>
          <p:cNvPr id="12" name="ZoneTexte 11"/>
          <p:cNvSpPr txBox="1"/>
          <p:nvPr/>
        </p:nvSpPr>
        <p:spPr>
          <a:xfrm>
            <a:off x="886312" y="2912131"/>
            <a:ext cx="6376637" cy="238527"/>
          </a:xfrm>
          <a:prstGeom prst="rect">
            <a:avLst/>
          </a:prstGeom>
          <a:noFill/>
        </p:spPr>
        <p:txBody>
          <a:bodyPr wrap="square" lIns="68580" tIns="34290" rIns="68580" bIns="34290">
            <a:spAutoFit/>
          </a:bodyPr>
          <a:lstStyle/>
          <a:p>
            <a:pPr marL="214630" indent="-214630">
              <a:buClr>
                <a:srgbClr val="68B022"/>
              </a:buClr>
              <a:buFont typeface="Arial" panose="020B0604020202020204" pitchFamily="34" charset="0"/>
              <a:buChar char="→"/>
            </a:pPr>
            <a:r>
              <a:rPr lang="pt-BR" sz="1100" dirty="0"/>
              <a:t>Parceria estreita com </a:t>
            </a:r>
            <a:r>
              <a:rPr lang="pt-BR" sz="1100" dirty="0" smtClean="0"/>
              <a:t>produtores locais especialistas no cultivo e processamento dos frutos.</a:t>
            </a:r>
            <a:endParaRPr lang="fr-FR" sz="1100" dirty="0"/>
          </a:p>
        </p:txBody>
      </p:sp>
      <p:sp>
        <p:nvSpPr>
          <p:cNvPr id="14" name="ZoneTexte 13"/>
          <p:cNvSpPr txBox="1"/>
          <p:nvPr/>
        </p:nvSpPr>
        <p:spPr>
          <a:xfrm>
            <a:off x="868680" y="3651135"/>
            <a:ext cx="6211053" cy="915635"/>
          </a:xfrm>
          <a:prstGeom prst="rect">
            <a:avLst/>
          </a:prstGeom>
          <a:noFill/>
        </p:spPr>
        <p:txBody>
          <a:bodyPr wrap="square" lIns="68580" tIns="34290" rIns="68580" bIns="34290">
            <a:spAutoFit/>
          </a:bodyPr>
          <a:lstStyle/>
          <a:p>
            <a:pPr marL="214630" indent="-214630">
              <a:buClr>
                <a:srgbClr val="68B022"/>
              </a:buClr>
              <a:buFont typeface="Arial" panose="020B0604020202020204" pitchFamily="34" charset="0"/>
              <a:buChar char="→"/>
            </a:pPr>
            <a:r>
              <a:rPr lang="pt-BR" sz="1100" dirty="0" smtClean="0"/>
              <a:t>Baseado </a:t>
            </a:r>
            <a:r>
              <a:rPr lang="pt-BR" sz="1100" dirty="0"/>
              <a:t>na colheita orgânica, sem desperdício, compostagem e enriquecimento natural do solo. Sem uso de pesticidas, herbicidas e sem fertilizantes </a:t>
            </a:r>
            <a:r>
              <a:rPr lang="pt-BR" sz="1100" dirty="0" smtClean="0"/>
              <a:t>químicos.</a:t>
            </a:r>
            <a:endParaRPr lang="pt-BR" sz="1100" dirty="0"/>
          </a:p>
          <a:p>
            <a:pPr marL="214630" indent="-214630">
              <a:buClr>
                <a:srgbClr val="68B022"/>
              </a:buClr>
              <a:buFont typeface="Arial" panose="020B0604020202020204" pitchFamily="34" charset="0"/>
              <a:buChar char="→"/>
            </a:pPr>
            <a:r>
              <a:rPr lang="pt-BR" sz="1100" dirty="0" smtClean="0"/>
              <a:t>Apoio </a:t>
            </a:r>
            <a:r>
              <a:rPr lang="pt-BR" sz="1100" dirty="0"/>
              <a:t>técnico dos fornecedores em matéria de boas práticas no manuseio, embalagem e conservantes.</a:t>
            </a:r>
            <a:endParaRPr lang="pt-BR" sz="1100" dirty="0"/>
          </a:p>
          <a:p>
            <a:pPr>
              <a:buClr>
                <a:srgbClr val="68B022"/>
              </a:buClr>
            </a:pPr>
            <a:endParaRPr lang="fr-FR" sz="1100" dirty="0"/>
          </a:p>
        </p:txBody>
      </p:sp>
      <p:sp>
        <p:nvSpPr>
          <p:cNvPr id="15" name="ZoneTexte 14"/>
          <p:cNvSpPr txBox="1"/>
          <p:nvPr/>
        </p:nvSpPr>
        <p:spPr>
          <a:xfrm>
            <a:off x="868680" y="3397978"/>
            <a:ext cx="2942288" cy="235424"/>
          </a:xfrm>
          <a:prstGeom prst="rect">
            <a:avLst/>
          </a:prstGeom>
          <a:noFill/>
        </p:spPr>
        <p:txBody>
          <a:bodyPr wrap="square" lIns="0" tIns="0" rIns="0" bIns="0" rtlCol="0">
            <a:noAutofit/>
          </a:bodyPr>
          <a:lstStyle/>
          <a:p>
            <a:r>
              <a:rPr lang="pt-BR" altLang="fr-FR" sz="1500" b="1" dirty="0" smtClean="0">
                <a:highlight>
                  <a:srgbClr val="D9E8C3"/>
                </a:highlight>
              </a:rPr>
              <a:t>Cultivo Sustentável</a:t>
            </a:r>
            <a:endParaRPr lang="pt-BR" altLang="fr-FR" sz="1500" b="1" dirty="0" smtClean="0">
              <a:highlight>
                <a:srgbClr val="D9E8C3"/>
              </a:highlight>
            </a:endParaRPr>
          </a:p>
        </p:txBody>
      </p:sp>
      <p:pic>
        <p:nvPicPr>
          <p:cNvPr id="19" name="Image 18"/>
          <p:cNvPicPr>
            <a:picLocks noChangeAspect="1"/>
          </p:cNvPicPr>
          <p:nvPr/>
        </p:nvPicPr>
        <p:blipFill rotWithShape="1">
          <a:blip r:embed="rId1">
            <a:extLst>
              <a:ext uri="{28A0092B-C50C-407E-A947-70E740481C1C}">
                <a14:useLocalDpi xmlns:a14="http://schemas.microsoft.com/office/drawing/2010/main" val="0"/>
              </a:ext>
            </a:extLst>
          </a:blip>
          <a:srcRect b="17301"/>
          <a:stretch>
            <a:fillRect/>
          </a:stretch>
        </p:blipFill>
        <p:spPr>
          <a:xfrm>
            <a:off x="160351" y="1649302"/>
            <a:ext cx="753631" cy="623248"/>
          </a:xfrm>
          <a:prstGeom prst="rect">
            <a:avLst/>
          </a:prstGeom>
        </p:spPr>
      </p:pic>
      <p:pic>
        <p:nvPicPr>
          <p:cNvPr id="21" name="Image 20"/>
          <p:cNvPicPr>
            <a:picLocks noChangeAspect="1"/>
          </p:cNvPicPr>
          <p:nvPr/>
        </p:nvPicPr>
        <p:blipFill rotWithShape="1">
          <a:blip r:embed="rId2">
            <a:extLst>
              <a:ext uri="{28A0092B-C50C-407E-A947-70E740481C1C}">
                <a14:useLocalDpi xmlns:a14="http://schemas.microsoft.com/office/drawing/2010/main" val="0"/>
              </a:ext>
            </a:extLst>
          </a:blip>
          <a:srcRect b="12856"/>
          <a:stretch>
            <a:fillRect/>
          </a:stretch>
        </p:blipFill>
        <p:spPr>
          <a:xfrm>
            <a:off x="264356" y="2670697"/>
            <a:ext cx="545619" cy="475475"/>
          </a:xfrm>
          <a:prstGeom prst="rect">
            <a:avLst/>
          </a:prstGeom>
        </p:spPr>
      </p:pic>
      <p:pic>
        <p:nvPicPr>
          <p:cNvPr id="23" name="Image 22"/>
          <p:cNvPicPr>
            <a:picLocks noChangeAspect="1"/>
          </p:cNvPicPr>
          <p:nvPr/>
        </p:nvPicPr>
        <p:blipFill rotWithShape="1">
          <a:blip r:embed="rId3">
            <a:extLst>
              <a:ext uri="{28A0092B-C50C-407E-A947-70E740481C1C}">
                <a14:useLocalDpi xmlns:a14="http://schemas.microsoft.com/office/drawing/2010/main" val="0"/>
              </a:ext>
            </a:extLst>
          </a:blip>
          <a:srcRect b="11795"/>
          <a:stretch>
            <a:fillRect/>
          </a:stretch>
        </p:blipFill>
        <p:spPr>
          <a:xfrm>
            <a:off x="172480" y="3528251"/>
            <a:ext cx="741502" cy="654044"/>
          </a:xfrm>
          <a:prstGeom prst="rect">
            <a:avLst/>
          </a:prstGeom>
        </p:spPr>
      </p:pic>
      <p:pic>
        <p:nvPicPr>
          <p:cNvPr id="11" name="Image 10" descr="Une image contenant ciel, herbe, extérieur, champ&#10;&#10;Description générée automatiquement"/>
          <p:cNvPicPr>
            <a:picLocks noChangeAspect="1"/>
          </p:cNvPicPr>
          <p:nvPr/>
        </p:nvPicPr>
        <p:blipFill rotWithShape="1">
          <a:blip r:embed="rId4">
            <a:extLst>
              <a:ext uri="{28A0092B-C50C-407E-A947-70E740481C1C}">
                <a14:useLocalDpi xmlns:a14="http://schemas.microsoft.com/office/drawing/2010/main" val="0"/>
              </a:ext>
            </a:extLst>
          </a:blip>
          <a:srcRect r="28549"/>
          <a:stretch>
            <a:fillRect/>
          </a:stretch>
        </p:blipFill>
        <p:spPr>
          <a:xfrm>
            <a:off x="7138086" y="1940210"/>
            <a:ext cx="2005915" cy="2105562"/>
          </a:xfrm>
          <a:prstGeom prst="rect">
            <a:avLst/>
          </a:prstGeom>
        </p:spPr>
      </p:pic>
      <p:sp>
        <p:nvSpPr>
          <p:cNvPr id="24" name="Rogner un rectangle à un seul coin 8"/>
          <p:cNvSpPr/>
          <p:nvPr/>
        </p:nvSpPr>
        <p:spPr>
          <a:xfrm>
            <a:off x="6027420" y="182880"/>
            <a:ext cx="1233170" cy="780173"/>
          </a:xfrm>
          <a:prstGeom prst="snip1Rect">
            <a:avLst>
              <a:gd name="adj" fmla="val 11639"/>
            </a:avLst>
          </a:prstGeom>
          <a:solidFill>
            <a:srgbClr val="F3E9E5">
              <a:alpha val="50196"/>
            </a:srgbClr>
          </a:solidFill>
          <a:ln>
            <a:solidFill>
              <a:srgbClr val="68B02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PARCERIA ENGAJADA</a:t>
            </a:r>
            <a:endParaRPr lang="fr-FR" sz="1100" dirty="0">
              <a:solidFill>
                <a:srgbClr val="007734"/>
              </a:solidFill>
            </a:endParaRPr>
          </a:p>
        </p:txBody>
      </p:sp>
      <p:pic>
        <p:nvPicPr>
          <p:cNvPr id="25" name="Picture 3" descr="C:\Users\uinhv\Downloads\shutterstock_1027827586.jpg"/>
          <p:cNvPicPr>
            <a:picLocks noChangeAspect="1" noChangeArrowheads="1"/>
          </p:cNvPicPr>
          <p:nvPr/>
        </p:nvPicPr>
        <p:blipFill rotWithShape="1">
          <a:blip r:embed="rId5" cstate="print">
            <a:clrChange>
              <a:clrFrom>
                <a:srgbClr val="FFFFFF"/>
              </a:clrFrom>
              <a:clrTo>
                <a:srgbClr val="FFFFFF">
                  <a:alpha val="0"/>
                </a:srgbClr>
              </a:clrTo>
            </a:clrChange>
          </a:blip>
          <a:srcRect l="34198" t="15145" r="25303" b="30699"/>
          <a:stretch>
            <a:fillRect/>
          </a:stretch>
        </p:blipFill>
        <p:spPr bwMode="auto">
          <a:xfrm>
            <a:off x="6919019" y="819711"/>
            <a:ext cx="321428" cy="322347"/>
          </a:xfrm>
          <a:prstGeom prst="ellipse">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zoom/>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199" y="1375453"/>
            <a:ext cx="8196429" cy="3212540"/>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GB" dirty="0">
              <a:solidFill>
                <a:prstClr val="black"/>
              </a:solidFill>
            </a:endParaRPr>
          </a:p>
        </p:txBody>
      </p:sp>
      <p:sp>
        <p:nvSpPr>
          <p:cNvPr id="19" name="Rectangle 18"/>
          <p:cNvSpPr/>
          <p:nvPr/>
        </p:nvSpPr>
        <p:spPr>
          <a:xfrm>
            <a:off x="6329769" y="1806613"/>
            <a:ext cx="2598179" cy="2119824"/>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sp>
        <p:nvSpPr>
          <p:cNvPr id="2" name="Title 1"/>
          <p:cNvSpPr>
            <a:spLocks noGrp="1"/>
          </p:cNvSpPr>
          <p:nvPr>
            <p:ph type="title"/>
          </p:nvPr>
        </p:nvSpPr>
        <p:spPr>
          <a:noFill/>
          <a:ln>
            <a:noFill/>
          </a:ln>
        </p:spPr>
        <p:txBody>
          <a:bodyPr vert="horz" wrap="square" lIns="0" tIns="0" rIns="0" bIns="0" numCol="1" anchor="ctr" anchorCtr="0" compatLnSpc="1"/>
          <a:lstStyle/>
          <a:p>
            <a:r>
              <a:rPr lang="de-DE" dirty="0" smtClean="0"/>
              <a:t>Foodflow</a:t>
            </a:r>
            <a:r>
              <a:rPr lang="en-US" baseline="30000" dirty="0">
                <a:solidFill>
                  <a:prstClr val="black"/>
                </a:solidFill>
              </a:rPr>
              <a:t> ®</a:t>
            </a:r>
            <a:endParaRPr lang="en-GB" dirty="0"/>
          </a:p>
        </p:txBody>
      </p:sp>
      <p:sp>
        <p:nvSpPr>
          <p:cNvPr id="3" name="Slide Number Placeholder 2"/>
          <p:cNvSpPr>
            <a:spLocks noGrp="1"/>
          </p:cNvSpPr>
          <p:nvPr>
            <p:ph type="sldNum" sz="quarter" idx="12"/>
          </p:nvPr>
        </p:nvSpPr>
        <p:spPr/>
        <p:txBody>
          <a:bodyPr/>
          <a:lstStyle/>
          <a:p>
            <a:fld id="{8AD48C63-78A6-4D64-B839-4870EFEB9C13}" type="slidenum">
              <a:rPr lang="en-GB" smtClean="0">
                <a:solidFill>
                  <a:srgbClr val="A8A09E"/>
                </a:solidFill>
              </a:rPr>
            </a:fld>
            <a:endParaRPr lang="en-GB" dirty="0">
              <a:solidFill>
                <a:srgbClr val="A8A09E"/>
              </a:solidFill>
            </a:endParaRPr>
          </a:p>
        </p:txBody>
      </p:sp>
      <p:sp>
        <p:nvSpPr>
          <p:cNvPr id="4" name="Subtitle 3"/>
          <p:cNvSpPr>
            <a:spLocks noGrp="1"/>
          </p:cNvSpPr>
          <p:nvPr>
            <p:ph type="subTitle" idx="1"/>
          </p:nvPr>
        </p:nvSpPr>
        <p:spPr>
          <a:xfrm>
            <a:off x="457199" y="693901"/>
            <a:ext cx="5808133" cy="220063"/>
          </a:xfrm>
          <a:noFill/>
          <a:ln>
            <a:noFill/>
          </a:ln>
        </p:spPr>
        <p:txBody>
          <a:bodyPr vert="horz" wrap="square" lIns="0" tIns="0" rIns="0" bIns="0" numCol="1" anchor="t" anchorCtr="0" compatLnSpc="1"/>
          <a:lstStyle/>
          <a:p>
            <a:r>
              <a:rPr lang="en-GB" dirty="0" err="1" smtClean="0">
                <a:solidFill>
                  <a:srgbClr val="FF0066"/>
                </a:solidFill>
              </a:rPr>
              <a:t>Aprimorando</a:t>
            </a:r>
            <a:r>
              <a:rPr lang="en-GB" dirty="0" smtClean="0">
                <a:solidFill>
                  <a:srgbClr val="FF0066"/>
                </a:solidFill>
              </a:rPr>
              <a:t> </a:t>
            </a:r>
            <a:r>
              <a:rPr lang="en-GB" dirty="0" err="1" smtClean="0">
                <a:solidFill>
                  <a:srgbClr val="FF0066"/>
                </a:solidFill>
              </a:rPr>
              <a:t>potencial</a:t>
            </a:r>
            <a:endParaRPr lang="en-GB" dirty="0">
              <a:solidFill>
                <a:srgbClr val="FF0066"/>
              </a:solidFill>
            </a:endParaRPr>
          </a:p>
        </p:txBody>
      </p:sp>
      <p:sp>
        <p:nvSpPr>
          <p:cNvPr id="7" name="Rectangle 6"/>
          <p:cNvSpPr/>
          <p:nvPr/>
        </p:nvSpPr>
        <p:spPr>
          <a:xfrm>
            <a:off x="194310" y="1165861"/>
            <a:ext cx="674370" cy="363474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6" name="Image 5"/>
          <p:cNvPicPr>
            <a:picLocks noChangeAspect="1"/>
          </p:cNvPicPr>
          <p:nvPr/>
        </p:nvPicPr>
        <p:blipFill rotWithShape="1">
          <a:blip r:embed="rId1" cstate="screen"/>
          <a:srcRect/>
          <a:stretch>
            <a:fillRect/>
          </a:stretch>
        </p:blipFill>
        <p:spPr>
          <a:xfrm>
            <a:off x="6442702" y="1916365"/>
            <a:ext cx="2606591" cy="2101049"/>
          </a:xfrm>
          <a:prstGeom prst="rect">
            <a:avLst/>
          </a:prstGeom>
        </p:spPr>
      </p:pic>
      <p:pic>
        <p:nvPicPr>
          <p:cNvPr id="20" name="Image 19"/>
          <p:cNvPicPr>
            <a:picLocks noChangeAspect="1"/>
          </p:cNvPicPr>
          <p:nvPr/>
        </p:nvPicPr>
        <p:blipFill rotWithShape="1">
          <a:blip r:embed="rId2" cstate="print"/>
          <a:srcRect b="12699"/>
          <a:stretch>
            <a:fillRect/>
          </a:stretch>
        </p:blipFill>
        <p:spPr>
          <a:xfrm>
            <a:off x="174344" y="3993613"/>
            <a:ext cx="629827" cy="549848"/>
          </a:xfrm>
          <a:prstGeom prst="rect">
            <a:avLst/>
          </a:prstGeom>
        </p:spPr>
      </p:pic>
      <p:pic>
        <p:nvPicPr>
          <p:cNvPr id="22" name="Image 21"/>
          <p:cNvPicPr>
            <a:picLocks noChangeAspect="1"/>
          </p:cNvPicPr>
          <p:nvPr/>
        </p:nvPicPr>
        <p:blipFill rotWithShape="1">
          <a:blip r:embed="rId3" cstate="print"/>
          <a:srcRect b="13650"/>
          <a:stretch>
            <a:fillRect/>
          </a:stretch>
        </p:blipFill>
        <p:spPr>
          <a:xfrm>
            <a:off x="263696" y="2618231"/>
            <a:ext cx="540475" cy="466696"/>
          </a:xfrm>
          <a:prstGeom prst="rect">
            <a:avLst/>
          </a:prstGeom>
        </p:spPr>
      </p:pic>
      <p:sp>
        <p:nvSpPr>
          <p:cNvPr id="23" name="Rectangle 22"/>
          <p:cNvSpPr/>
          <p:nvPr/>
        </p:nvSpPr>
        <p:spPr>
          <a:xfrm>
            <a:off x="868679" y="1455644"/>
            <a:ext cx="7784949" cy="330860"/>
          </a:xfrm>
          <a:prstGeom prst="rect">
            <a:avLst/>
          </a:prstGeom>
        </p:spPr>
        <p:txBody>
          <a:bodyPr wrap="square" lIns="68580" tIns="34290" rIns="68580" bIns="34290">
            <a:spAutoFit/>
          </a:bodyPr>
          <a:lstStyle/>
          <a:p>
            <a:r>
              <a:rPr lang="en-GB" sz="1700" b="1" dirty="0" smtClean="0">
                <a:solidFill>
                  <a:srgbClr val="68B222"/>
                </a:solidFill>
              </a:rPr>
              <a:t>A </a:t>
            </a:r>
            <a:r>
              <a:rPr lang="en-GB" sz="1700" b="1" dirty="0" err="1" smtClean="0">
                <a:solidFill>
                  <a:srgbClr val="68B222"/>
                </a:solidFill>
              </a:rPr>
              <a:t>indústria</a:t>
            </a:r>
            <a:r>
              <a:rPr lang="en-GB" sz="1700" b="1" dirty="0" smtClean="0">
                <a:solidFill>
                  <a:srgbClr val="68B222"/>
                </a:solidFill>
              </a:rPr>
              <a:t> </a:t>
            </a:r>
            <a:r>
              <a:rPr lang="en-GB" sz="1700" b="1" dirty="0" err="1" smtClean="0">
                <a:solidFill>
                  <a:srgbClr val="68B222"/>
                </a:solidFill>
              </a:rPr>
              <a:t>alimentícia</a:t>
            </a:r>
            <a:r>
              <a:rPr lang="en-GB" sz="1700" b="1" dirty="0" smtClean="0">
                <a:solidFill>
                  <a:srgbClr val="68B222"/>
                </a:solidFill>
              </a:rPr>
              <a:t> </a:t>
            </a:r>
            <a:r>
              <a:rPr lang="en-GB" sz="1700" b="1" dirty="0" err="1" smtClean="0">
                <a:solidFill>
                  <a:srgbClr val="68B222"/>
                </a:solidFill>
              </a:rPr>
              <a:t>produz</a:t>
            </a:r>
            <a:r>
              <a:rPr lang="en-GB" sz="1700" b="1" dirty="0" smtClean="0">
                <a:solidFill>
                  <a:srgbClr val="68B222"/>
                </a:solidFill>
              </a:rPr>
              <a:t> </a:t>
            </a:r>
            <a:r>
              <a:rPr lang="en-GB" sz="1700" b="1" dirty="0" err="1" smtClean="0">
                <a:solidFill>
                  <a:srgbClr val="68B222"/>
                </a:solidFill>
              </a:rPr>
              <a:t>muitas</a:t>
            </a:r>
            <a:r>
              <a:rPr lang="en-GB" sz="1700" b="1" dirty="0" smtClean="0">
                <a:solidFill>
                  <a:srgbClr val="68B222"/>
                </a:solidFill>
              </a:rPr>
              <a:t> sub </a:t>
            </a:r>
            <a:r>
              <a:rPr lang="en-GB" sz="1700" b="1" dirty="0" err="1" smtClean="0">
                <a:solidFill>
                  <a:srgbClr val="68B222"/>
                </a:solidFill>
              </a:rPr>
              <a:t>cadeias</a:t>
            </a:r>
            <a:r>
              <a:rPr lang="en-GB" sz="1700" b="1" dirty="0" smtClean="0">
                <a:solidFill>
                  <a:srgbClr val="68B222"/>
                </a:solidFill>
              </a:rPr>
              <a:t> </a:t>
            </a:r>
            <a:r>
              <a:rPr lang="en-GB" sz="1700" b="1" dirty="0" err="1" smtClean="0">
                <a:solidFill>
                  <a:srgbClr val="68B222"/>
                </a:solidFill>
              </a:rPr>
              <a:t>produtivas</a:t>
            </a:r>
            <a:endParaRPr lang="en-GB" sz="1700" b="1" dirty="0">
              <a:solidFill>
                <a:srgbClr val="68B222"/>
              </a:solidFill>
            </a:endParaRPr>
          </a:p>
        </p:txBody>
      </p:sp>
      <p:pic>
        <p:nvPicPr>
          <p:cNvPr id="24" name="Image 23"/>
          <p:cNvPicPr>
            <a:picLocks noChangeAspect="1"/>
          </p:cNvPicPr>
          <p:nvPr/>
        </p:nvPicPr>
        <p:blipFill rotWithShape="1">
          <a:blip r:embed="rId4" cstate="print"/>
          <a:srcRect b="15396"/>
          <a:stretch>
            <a:fillRect/>
          </a:stretch>
        </p:blipFill>
        <p:spPr>
          <a:xfrm>
            <a:off x="237863" y="3281653"/>
            <a:ext cx="591707" cy="500603"/>
          </a:xfrm>
          <a:prstGeom prst="rect">
            <a:avLst/>
          </a:prstGeom>
        </p:spPr>
      </p:pic>
      <p:pic>
        <p:nvPicPr>
          <p:cNvPr id="25" name="Image 24"/>
          <p:cNvPicPr>
            <a:picLocks noChangeAspect="1"/>
          </p:cNvPicPr>
          <p:nvPr/>
        </p:nvPicPr>
        <p:blipFill rotWithShape="1">
          <a:blip r:embed="rId5" cstate="print"/>
          <a:srcRect l="21270" r="14921" b="13968"/>
          <a:stretch>
            <a:fillRect/>
          </a:stretch>
        </p:blipFill>
        <p:spPr>
          <a:xfrm>
            <a:off x="357493" y="1909688"/>
            <a:ext cx="369059" cy="497587"/>
          </a:xfrm>
          <a:prstGeom prst="rect">
            <a:avLst/>
          </a:prstGeom>
        </p:spPr>
      </p:pic>
      <p:sp>
        <p:nvSpPr>
          <p:cNvPr id="26" name="Rectangle 25"/>
          <p:cNvSpPr/>
          <p:nvPr/>
        </p:nvSpPr>
        <p:spPr>
          <a:xfrm>
            <a:off x="868678" y="2008439"/>
            <a:ext cx="5736119" cy="238527"/>
          </a:xfrm>
          <a:prstGeom prst="rect">
            <a:avLst/>
          </a:prstGeom>
        </p:spPr>
        <p:txBody>
          <a:bodyPr wrap="square" lIns="68580" tIns="34290" rIns="68580" bIns="34290">
            <a:spAutoFit/>
          </a:bodyPr>
          <a:lstStyle/>
          <a:p>
            <a:r>
              <a:rPr lang="en-GB" sz="1100" dirty="0" err="1" smtClean="0">
                <a:solidFill>
                  <a:srgbClr val="000000"/>
                </a:solidFill>
                <a:latin typeface="Arial" panose="020B0604020202020204" pitchFamily="34" charset="0"/>
              </a:rPr>
              <a:t>Identificar</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parceiro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para</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abastecer</a:t>
            </a:r>
            <a:r>
              <a:rPr lang="en-GB" sz="1100" dirty="0" smtClean="0">
                <a:solidFill>
                  <a:srgbClr val="000000"/>
                </a:solidFill>
                <a:latin typeface="Arial" panose="020B0604020202020204" pitchFamily="34" charset="0"/>
              </a:rPr>
              <a:t> a </a:t>
            </a:r>
            <a:r>
              <a:rPr lang="en-GB" sz="1100" dirty="0" err="1" smtClean="0">
                <a:solidFill>
                  <a:srgbClr val="000000"/>
                </a:solidFill>
                <a:latin typeface="Arial" panose="020B0604020202020204" pitchFamily="34" charset="0"/>
              </a:rPr>
              <a:t>indústria</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alimentícia</a:t>
            </a:r>
            <a:r>
              <a:rPr lang="en-GB" sz="1100" dirty="0" smtClean="0">
                <a:solidFill>
                  <a:srgbClr val="000000"/>
                </a:solidFill>
                <a:latin typeface="Arial" panose="020B0604020202020204" pitchFamily="34" charset="0"/>
              </a:rPr>
              <a:t>.</a:t>
            </a:r>
            <a:endParaRPr lang="en-GB" sz="1100" dirty="0">
              <a:solidFill>
                <a:srgbClr val="000000"/>
              </a:solidFill>
              <a:latin typeface="Arial" panose="020B0604020202020204" pitchFamily="34" charset="0"/>
            </a:endParaRPr>
          </a:p>
        </p:txBody>
      </p:sp>
      <p:sp>
        <p:nvSpPr>
          <p:cNvPr id="5" name="Rectangle 4"/>
          <p:cNvSpPr/>
          <p:nvPr/>
        </p:nvSpPr>
        <p:spPr>
          <a:xfrm>
            <a:off x="870607" y="3329335"/>
            <a:ext cx="6768571" cy="471924"/>
          </a:xfrm>
          <a:prstGeom prst="rect">
            <a:avLst/>
          </a:prstGeom>
        </p:spPr>
        <p:txBody>
          <a:bodyPr wrap="square" lIns="68580" tIns="34290" rIns="68580" bIns="34290">
            <a:spAutoFit/>
          </a:bodyPr>
          <a:lstStyle/>
          <a:p>
            <a:pPr>
              <a:spcAft>
                <a:spcPts val="450"/>
              </a:spcAft>
            </a:pPr>
            <a:r>
              <a:rPr lang="pt-BR" sz="1100" dirty="0" smtClean="0">
                <a:solidFill>
                  <a:srgbClr val="000000"/>
                </a:solidFill>
                <a:latin typeface="Arial" panose="020B0604020202020204" pitchFamily="34" charset="0"/>
              </a:rPr>
              <a:t>Empresa </a:t>
            </a:r>
            <a:r>
              <a:rPr lang="pt-BR" sz="1100" dirty="0">
                <a:solidFill>
                  <a:srgbClr val="000000"/>
                </a:solidFill>
                <a:latin typeface="Arial" panose="020B0604020202020204" pitchFamily="34" charset="0"/>
              </a:rPr>
              <a:t>familiar que passa de </a:t>
            </a:r>
            <a:r>
              <a:rPr lang="pt-BR" sz="1100" b="1" dirty="0">
                <a:solidFill>
                  <a:srgbClr val="68B222"/>
                </a:solidFill>
                <a:latin typeface="Arial" panose="020B0604020202020204" pitchFamily="34" charset="0"/>
              </a:rPr>
              <a:t>geração em </a:t>
            </a:r>
            <a:r>
              <a:rPr lang="pt-BR" sz="1100" b="1" dirty="0" smtClean="0">
                <a:solidFill>
                  <a:srgbClr val="68B222"/>
                </a:solidFill>
                <a:latin typeface="Arial" panose="020B0604020202020204" pitchFamily="34" charset="0"/>
              </a:rPr>
              <a:t>geração</a:t>
            </a:r>
            <a:endParaRPr lang="en-GB" sz="1100" b="1" dirty="0" smtClean="0">
              <a:solidFill>
                <a:srgbClr val="68B222"/>
              </a:solidFill>
              <a:latin typeface="Arial" panose="020B0604020202020204" pitchFamily="34" charset="0"/>
            </a:endParaRPr>
          </a:p>
          <a:p>
            <a:pPr marL="600075" lvl="1" indent="-257175">
              <a:spcAft>
                <a:spcPts val="450"/>
              </a:spcAft>
              <a:buClr>
                <a:srgbClr val="68B222"/>
              </a:buClr>
              <a:buFont typeface="Arial" panose="020B0604020202020204" pitchFamily="34" charset="0"/>
              <a:buChar char="►"/>
            </a:pPr>
            <a:r>
              <a:rPr lang="pt-BR" sz="1100" i="1" dirty="0" smtClean="0">
                <a:solidFill>
                  <a:srgbClr val="000000"/>
                </a:solidFill>
                <a:latin typeface="Arial" panose="020B0604020202020204" pitchFamily="34" charset="0"/>
              </a:rPr>
              <a:t>O habitat nativo é </a:t>
            </a:r>
            <a:r>
              <a:rPr lang="pt-BR" sz="1100" b="1" dirty="0" smtClean="0">
                <a:solidFill>
                  <a:srgbClr val="68B222"/>
                </a:solidFill>
                <a:latin typeface="Arial" panose="020B0604020202020204" pitchFamily="34" charset="0"/>
              </a:rPr>
              <a:t>RESPEITADO</a:t>
            </a:r>
            <a:r>
              <a:rPr lang="pt-BR" sz="1100" i="1" dirty="0" smtClean="0">
                <a:solidFill>
                  <a:srgbClr val="000000"/>
                </a:solidFill>
                <a:latin typeface="Arial" panose="020B0604020202020204" pitchFamily="34" charset="0"/>
              </a:rPr>
              <a:t> e mantido eles.</a:t>
            </a:r>
            <a:endParaRPr lang="en-GB" sz="1100" i="1" dirty="0">
              <a:solidFill>
                <a:srgbClr val="000000"/>
              </a:solidFill>
              <a:latin typeface="Arial" panose="020B0604020202020204" pitchFamily="34" charset="0"/>
            </a:endParaRPr>
          </a:p>
        </p:txBody>
      </p:sp>
      <p:sp>
        <p:nvSpPr>
          <p:cNvPr id="9" name="Rectangle 8"/>
          <p:cNvSpPr/>
          <p:nvPr/>
        </p:nvSpPr>
        <p:spPr>
          <a:xfrm>
            <a:off x="868679" y="2613003"/>
            <a:ext cx="5513424" cy="407804"/>
          </a:xfrm>
          <a:prstGeom prst="rect">
            <a:avLst/>
          </a:prstGeom>
        </p:spPr>
        <p:txBody>
          <a:bodyPr wrap="square" lIns="68580" tIns="34290" rIns="68580" bIns="34290">
            <a:spAutoFit/>
          </a:bodyPr>
          <a:lstStyle/>
          <a:p>
            <a:pPr>
              <a:spcAft>
                <a:spcPts val="450"/>
              </a:spcAft>
            </a:pPr>
            <a:r>
              <a:rPr lang="en-GB" sz="1100" dirty="0" err="1" smtClean="0">
                <a:solidFill>
                  <a:srgbClr val="000000"/>
                </a:solidFill>
                <a:latin typeface="Arial" panose="020B0604020202020204" pitchFamily="34" charset="0"/>
              </a:rPr>
              <a:t>Maximizando</a:t>
            </a:r>
            <a:r>
              <a:rPr lang="en-GB" sz="1100" dirty="0" smtClean="0">
                <a:solidFill>
                  <a:srgbClr val="000000"/>
                </a:solidFill>
                <a:latin typeface="Arial" panose="020B0604020202020204" pitchFamily="34" charset="0"/>
              </a:rPr>
              <a:t> o </a:t>
            </a:r>
            <a:r>
              <a:rPr lang="en-GB" sz="1100" dirty="0" err="1" smtClean="0">
                <a:solidFill>
                  <a:srgbClr val="000000"/>
                </a:solidFill>
                <a:latin typeface="Arial" panose="020B0604020202020204" pitchFamily="34" charset="0"/>
              </a:rPr>
              <a:t>poder</a:t>
            </a:r>
            <a:r>
              <a:rPr lang="en-GB" sz="1100" dirty="0" smtClean="0">
                <a:solidFill>
                  <a:srgbClr val="000000"/>
                </a:solidFill>
                <a:latin typeface="Arial" panose="020B0604020202020204" pitchFamily="34" charset="0"/>
              </a:rPr>
              <a:t> das </a:t>
            </a:r>
            <a:r>
              <a:rPr lang="en-GB" sz="1100" dirty="0" err="1" smtClean="0">
                <a:solidFill>
                  <a:srgbClr val="000000"/>
                </a:solidFill>
                <a:latin typeface="Arial" panose="020B0604020202020204" pitchFamily="34" charset="0"/>
              </a:rPr>
              <a:t>pesso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famíli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sustentáveis</a:t>
            </a:r>
            <a:r>
              <a:rPr lang="en-GB" sz="1100" dirty="0" smtClean="0">
                <a:solidFill>
                  <a:srgbClr val="000000"/>
                </a:solidFill>
                <a:latin typeface="Arial" panose="020B0604020202020204" pitchFamily="34" charset="0"/>
              </a:rPr>
              <a:t>) vs. </a:t>
            </a:r>
            <a:r>
              <a:rPr lang="en-GB" sz="1100" dirty="0" err="1" smtClean="0">
                <a:solidFill>
                  <a:srgbClr val="000000"/>
                </a:solidFill>
                <a:latin typeface="Arial" panose="020B0604020202020204" pitchFamily="34" charset="0"/>
              </a:rPr>
              <a:t>Máquinas</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que</a:t>
            </a:r>
            <a:r>
              <a:rPr lang="en-GB" sz="1100" dirty="0" smtClean="0">
                <a:solidFill>
                  <a:srgbClr val="000000"/>
                </a:solidFill>
                <a:latin typeface="Arial" panose="020B0604020202020204" pitchFamily="34" charset="0"/>
              </a:rPr>
              <a:t> </a:t>
            </a:r>
            <a:r>
              <a:rPr lang="en-GB" sz="1100" dirty="0" err="1" smtClean="0">
                <a:solidFill>
                  <a:srgbClr val="000000"/>
                </a:solidFill>
                <a:latin typeface="Arial" panose="020B0604020202020204" pitchFamily="34" charset="0"/>
              </a:rPr>
              <a:t>impactam</a:t>
            </a:r>
            <a:r>
              <a:rPr lang="en-GB" sz="1100" dirty="0" smtClean="0">
                <a:solidFill>
                  <a:srgbClr val="000000"/>
                </a:solidFill>
                <a:latin typeface="Arial" panose="020B0604020202020204" pitchFamily="34" charset="0"/>
              </a:rPr>
              <a:t> a terra.</a:t>
            </a:r>
            <a:endParaRPr lang="en-GB" sz="1100" b="1" dirty="0">
              <a:solidFill>
                <a:srgbClr val="000000"/>
              </a:solidFill>
              <a:latin typeface="Arial" panose="020B0604020202020204" pitchFamily="34" charset="0"/>
            </a:endParaRPr>
          </a:p>
        </p:txBody>
      </p:sp>
      <p:sp>
        <p:nvSpPr>
          <p:cNvPr id="10" name="Rectangle 9"/>
          <p:cNvSpPr/>
          <p:nvPr/>
        </p:nvSpPr>
        <p:spPr>
          <a:xfrm>
            <a:off x="868679" y="4118495"/>
            <a:ext cx="6025939" cy="407804"/>
          </a:xfrm>
          <a:prstGeom prst="rect">
            <a:avLst/>
          </a:prstGeom>
        </p:spPr>
        <p:txBody>
          <a:bodyPr wrap="square" lIns="68580" tIns="34290" rIns="68580" bIns="34290">
            <a:spAutoFit/>
          </a:bodyPr>
          <a:lstStyle/>
          <a:p>
            <a:r>
              <a:rPr lang="pt-BR" sz="1100" b="1" dirty="0" smtClean="0">
                <a:solidFill>
                  <a:srgbClr val="68B222"/>
                </a:solidFill>
                <a:latin typeface="Arial" panose="020B0604020202020204" pitchFamily="34" charset="0"/>
              </a:rPr>
              <a:t>Identificar </a:t>
            </a:r>
            <a:r>
              <a:rPr lang="pt-BR" sz="1100" b="1" dirty="0">
                <a:solidFill>
                  <a:srgbClr val="68B222"/>
                </a:solidFill>
                <a:latin typeface="Arial" panose="020B0604020202020204" pitchFamily="34" charset="0"/>
              </a:rPr>
              <a:t>e valorizar os fluxos </a:t>
            </a:r>
            <a:r>
              <a:rPr lang="pt-BR" sz="1100" b="1" dirty="0" smtClean="0">
                <a:solidFill>
                  <a:srgbClr val="68B222"/>
                </a:solidFill>
                <a:latin typeface="Arial" panose="020B0604020202020204" pitchFamily="34" charset="0"/>
              </a:rPr>
              <a:t>secundários “</a:t>
            </a:r>
            <a:r>
              <a:rPr lang="pt-BR" sz="1100" b="1" dirty="0" err="1" smtClean="0">
                <a:solidFill>
                  <a:srgbClr val="68B222"/>
                </a:solidFill>
                <a:latin typeface="Arial" panose="020B0604020202020204" pitchFamily="34" charset="0"/>
              </a:rPr>
              <a:t>sidestreams</a:t>
            </a:r>
            <a:r>
              <a:rPr lang="pt-BR" sz="1100" b="1" dirty="0" smtClean="0">
                <a:solidFill>
                  <a:srgbClr val="68B222"/>
                </a:solidFill>
                <a:latin typeface="Arial" panose="020B0604020202020204" pitchFamily="34" charset="0"/>
              </a:rPr>
              <a:t>”</a:t>
            </a:r>
            <a:r>
              <a:rPr lang="pt-BR" sz="1100" dirty="0" smtClean="0">
                <a:solidFill>
                  <a:srgbClr val="000000"/>
                </a:solidFill>
                <a:latin typeface="Arial" panose="020B0604020202020204" pitchFamily="34" charset="0"/>
              </a:rPr>
              <a:t> </a:t>
            </a:r>
            <a:r>
              <a:rPr lang="pt-BR" sz="1100" dirty="0">
                <a:solidFill>
                  <a:srgbClr val="000000"/>
                </a:solidFill>
                <a:latin typeface="Arial" panose="020B0604020202020204" pitchFamily="34" charset="0"/>
              </a:rPr>
              <a:t>gerados pela produção de </a:t>
            </a:r>
            <a:r>
              <a:rPr lang="pt-BR" sz="1100" dirty="0" smtClean="0">
                <a:solidFill>
                  <a:srgbClr val="000000"/>
                </a:solidFill>
                <a:latin typeface="Arial" panose="020B0604020202020204" pitchFamily="34" charset="0"/>
              </a:rPr>
              <a:t>sucos e polpas.</a:t>
            </a:r>
            <a:endParaRPr lang="en-GB" sz="1100" dirty="0">
              <a:solidFill>
                <a:srgbClr val="000000"/>
              </a:solidFill>
              <a:latin typeface="Arial" panose="020B0604020202020204" pitchFamily="34" charset="0"/>
            </a:endParaRPr>
          </a:p>
        </p:txBody>
      </p:sp>
      <p:sp>
        <p:nvSpPr>
          <p:cNvPr id="18" name="Rogner un rectangle à un seul coin 8"/>
          <p:cNvSpPr/>
          <p:nvPr/>
        </p:nvSpPr>
        <p:spPr>
          <a:xfrm>
            <a:off x="6027420" y="182880"/>
            <a:ext cx="1213027" cy="780173"/>
          </a:xfrm>
          <a:prstGeom prst="snip1Rect">
            <a:avLst>
              <a:gd name="adj" fmla="val 7898"/>
            </a:avLst>
          </a:prstGeom>
          <a:solidFill>
            <a:srgbClr val="F3E9E5">
              <a:alpha val="50196"/>
            </a:srgbClr>
          </a:solidFill>
          <a:ln>
            <a:solidFill>
              <a:srgbClr val="68B02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7734"/>
                </a:solidFill>
              </a:rPr>
              <a:t>IMPACTO POSITIVO NA</a:t>
            </a:r>
            <a:endParaRPr lang="fr-FR" sz="1100" dirty="0">
              <a:solidFill>
                <a:srgbClr val="007734"/>
              </a:solidFill>
            </a:endParaRPr>
          </a:p>
          <a:p>
            <a:pPr algn="ctr"/>
            <a:r>
              <a:rPr lang="fr-FR" sz="1100" dirty="0">
                <a:solidFill>
                  <a:srgbClr val="007734"/>
                </a:solidFill>
              </a:rPr>
              <a:t>TERRA</a:t>
            </a:r>
            <a:endParaRPr lang="fr-FR" sz="1100" dirty="0">
              <a:solidFill>
                <a:srgbClr val="007734"/>
              </a:solidFill>
            </a:endParaRPr>
          </a:p>
        </p:txBody>
      </p:sp>
      <p:pic>
        <p:nvPicPr>
          <p:cNvPr id="21" name="Picture 2" descr="C:\Users\uinhv\Downloads\shutterstock_1179319306.jpg"/>
          <p:cNvPicPr>
            <a:picLocks noChangeAspect="1" noChangeArrowheads="1"/>
          </p:cNvPicPr>
          <p:nvPr/>
        </p:nvPicPr>
        <p:blipFill rotWithShape="1">
          <a:blip r:embed="rId6" cstate="print">
            <a:clrChange>
              <a:clrFrom>
                <a:srgbClr val="FFFFFF"/>
              </a:clrFrom>
              <a:clrTo>
                <a:srgbClr val="FFFFFF">
                  <a:alpha val="0"/>
                </a:srgbClr>
              </a:clrTo>
            </a:clrChange>
          </a:blip>
          <a:srcRect l="24485" t="22543" r="25803" b="30700"/>
          <a:stretch>
            <a:fillRect/>
          </a:stretch>
        </p:blipFill>
        <p:spPr bwMode="auto">
          <a:xfrm>
            <a:off x="6882121" y="777185"/>
            <a:ext cx="395224" cy="37173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re 1"/>
          <p:cNvSpPr>
            <a:spLocks noGrp="1"/>
          </p:cNvSpPr>
          <p:nvPr>
            <p:ph type="title"/>
          </p:nvPr>
        </p:nvSpPr>
        <p:spPr/>
        <p:txBody>
          <a:bodyPr/>
          <a:lstStyle/>
          <a:p>
            <a:r>
              <a:rPr lang="de-DE" dirty="0" smtClean="0"/>
              <a:t>Foodflow</a:t>
            </a:r>
            <a:r>
              <a:rPr lang="en-US" baseline="30000" dirty="0" smtClean="0">
                <a:solidFill>
                  <a:prstClr val="black"/>
                </a:solidFill>
              </a:rPr>
              <a:t>®</a:t>
            </a:r>
            <a:endParaRPr lang="fr-FR" dirty="0"/>
          </a:p>
        </p:txBody>
      </p:sp>
      <p:sp>
        <p:nvSpPr>
          <p:cNvPr id="35" name="Sous-titre 3"/>
          <p:cNvSpPr>
            <a:spLocks noGrp="1"/>
          </p:cNvSpPr>
          <p:nvPr>
            <p:ph type="subTitle" idx="1"/>
          </p:nvPr>
        </p:nvSpPr>
        <p:spPr>
          <a:xfrm>
            <a:off x="457201" y="693901"/>
            <a:ext cx="7914639" cy="220499"/>
          </a:xfrm>
          <a:noFill/>
          <a:ln>
            <a:noFill/>
          </a:ln>
        </p:spPr>
        <p:txBody>
          <a:bodyPr vert="horz" wrap="square" lIns="0" tIns="0" rIns="0" bIns="0" numCol="1" anchor="t" anchorCtr="0" compatLnSpc="1"/>
          <a:lstStyle/>
          <a:p>
            <a:r>
              <a:rPr lang="fr-FR" dirty="0">
                <a:solidFill>
                  <a:srgbClr val="FF0066"/>
                </a:solidFill>
              </a:rPr>
              <a:t>Soluções da Future </a:t>
            </a:r>
            <a:r>
              <a:rPr lang="fr-FR" dirty="0" smtClean="0">
                <a:solidFill>
                  <a:srgbClr val="FF0066"/>
                </a:solidFill>
              </a:rPr>
              <a:t>Tech – Certificados Regulatórios</a:t>
            </a:r>
            <a:endParaRPr lang="fr-FR" dirty="0">
              <a:solidFill>
                <a:srgbClr val="FF0066"/>
              </a:solidFill>
            </a:endParaRPr>
          </a:p>
          <a:p>
            <a:endParaRPr lang="fr-FR" dirty="0">
              <a:solidFill>
                <a:srgbClr val="FF0066"/>
              </a:solidFill>
            </a:endParaRPr>
          </a:p>
        </p:txBody>
      </p:sp>
      <p:sp>
        <p:nvSpPr>
          <p:cNvPr id="2" name="Espace réservé du numéro de diapositive 1"/>
          <p:cNvSpPr>
            <a:spLocks noGrp="1"/>
          </p:cNvSpPr>
          <p:nvPr>
            <p:ph type="sldNum" sz="quarter" idx="12"/>
          </p:nvPr>
        </p:nvSpPr>
        <p:spPr/>
        <p:txBody>
          <a:bodyPr/>
          <a:lstStyle/>
          <a:p>
            <a:fld id="{33BBF0EA-312D-42F6-8AD4-6CEA31025EAE}" type="slidenum">
              <a:rPr lang="de-DE" altLang="fr-FR" smtClean="0"/>
            </a:fld>
            <a:endParaRPr lang="de-DE" altLang="fr-FR" dirty="0"/>
          </a:p>
        </p:txBody>
      </p:sp>
      <p:sp>
        <p:nvSpPr>
          <p:cNvPr id="11" name="Rectangle 10"/>
          <p:cNvSpPr/>
          <p:nvPr/>
        </p:nvSpPr>
        <p:spPr>
          <a:xfrm>
            <a:off x="457202" y="1159497"/>
            <a:ext cx="5674659" cy="3450210"/>
          </a:xfrm>
          <a:prstGeom prst="rect">
            <a:avLst/>
          </a:prstGeom>
          <a:solidFill>
            <a:srgbClr val="F3E9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sp>
        <p:nvSpPr>
          <p:cNvPr id="13" name="Rectangle 12"/>
          <p:cNvSpPr/>
          <p:nvPr/>
        </p:nvSpPr>
        <p:spPr>
          <a:xfrm>
            <a:off x="457205" y="1204828"/>
            <a:ext cx="5674656" cy="941796"/>
          </a:xfrm>
          <a:prstGeom prst="rect">
            <a:avLst/>
          </a:prstGeom>
        </p:spPr>
        <p:txBody>
          <a:bodyPr wrap="square">
            <a:spAutoFit/>
          </a:bodyPr>
          <a:lstStyle/>
          <a:p>
            <a:pPr algn="ctr">
              <a:lnSpc>
                <a:spcPct val="120000"/>
              </a:lnSpc>
            </a:pPr>
            <a:r>
              <a:rPr lang="pt-BR" sz="1400" i="1" dirty="0">
                <a:latin typeface="Times New Roman" panose="02020603050405020304" pitchFamily="18" charset="0"/>
                <a:cs typeface="Times New Roman" panose="02020603050405020304" pitchFamily="18" charset="0"/>
              </a:rPr>
              <a:t>Desenvolvemos </a:t>
            </a:r>
            <a:r>
              <a:rPr lang="pt-BR" sz="1400" i="1" dirty="0" smtClean="0">
                <a:latin typeface="Times New Roman" panose="02020603050405020304" pitchFamily="18" charset="0"/>
                <a:cs typeface="Times New Roman" panose="02020603050405020304" pitchFamily="18" charset="0"/>
              </a:rPr>
              <a:t>uma</a:t>
            </a:r>
            <a:endParaRPr lang="pt-BR" sz="1400" i="1" dirty="0" smtClean="0">
              <a:latin typeface="Times New Roman" panose="02020603050405020304" pitchFamily="18" charset="0"/>
              <a:cs typeface="Times New Roman" panose="02020603050405020304" pitchFamily="18" charset="0"/>
            </a:endParaRPr>
          </a:p>
          <a:p>
            <a:pPr algn="ctr">
              <a:lnSpc>
                <a:spcPct val="120000"/>
              </a:lnSpc>
            </a:pPr>
            <a:r>
              <a:rPr lang="pt-BR" sz="1400" i="1" dirty="0" smtClean="0">
                <a:latin typeface="Times New Roman" panose="02020603050405020304" pitchFamily="18" charset="0"/>
                <a:cs typeface="Times New Roman" panose="02020603050405020304" pitchFamily="18" charset="0"/>
              </a:rPr>
              <a:t>solução </a:t>
            </a:r>
            <a:r>
              <a:rPr lang="pt-BR" sz="1600" b="1" i="1" dirty="0" smtClean="0">
                <a:latin typeface="Times New Roman" panose="02020603050405020304" pitchFamily="18" charset="0"/>
                <a:cs typeface="Times New Roman" panose="02020603050405020304" pitchFamily="18" charset="0"/>
              </a:rPr>
              <a:t>única</a:t>
            </a:r>
            <a:r>
              <a:rPr lang="pt-BR" sz="1400" i="1" dirty="0" smtClean="0">
                <a:latin typeface="Times New Roman" panose="02020603050405020304" pitchFamily="18" charset="0"/>
                <a:cs typeface="Times New Roman" panose="02020603050405020304" pitchFamily="18" charset="0"/>
              </a:rPr>
              <a:t> </a:t>
            </a:r>
            <a:r>
              <a:rPr lang="pt-BR" sz="1400" i="1" dirty="0">
                <a:latin typeface="Times New Roman" panose="02020603050405020304" pitchFamily="18" charset="0"/>
                <a:cs typeface="Times New Roman" panose="02020603050405020304" pitchFamily="18" charset="0"/>
              </a:rPr>
              <a:t>e </a:t>
            </a:r>
            <a:r>
              <a:rPr lang="pt-BR" sz="1600" b="1" i="1" dirty="0">
                <a:latin typeface="Times New Roman" panose="02020603050405020304" pitchFamily="18" charset="0"/>
                <a:cs typeface="Times New Roman" panose="02020603050405020304" pitchFamily="18" charset="0"/>
              </a:rPr>
              <a:t>ecologicament</a:t>
            </a:r>
            <a:r>
              <a:rPr lang="pt-BR" sz="1600" i="1" dirty="0">
                <a:latin typeface="Times New Roman" panose="02020603050405020304" pitchFamily="18" charset="0"/>
                <a:cs typeface="Times New Roman" panose="02020603050405020304" pitchFamily="18" charset="0"/>
              </a:rPr>
              <a:t>e</a:t>
            </a:r>
            <a:r>
              <a:rPr lang="pt-BR" sz="1400" i="1" dirty="0">
                <a:latin typeface="Times New Roman" panose="02020603050405020304" pitchFamily="18" charset="0"/>
                <a:cs typeface="Times New Roman" panose="02020603050405020304" pitchFamily="18" charset="0"/>
              </a:rPr>
              <a:t> responsável </a:t>
            </a:r>
            <a:r>
              <a:rPr lang="pt-BR" sz="1400" i="1" dirty="0" smtClean="0">
                <a:latin typeface="Times New Roman" panose="02020603050405020304" pitchFamily="18" charset="0"/>
                <a:cs typeface="Times New Roman" panose="02020603050405020304" pitchFamily="18" charset="0"/>
              </a:rPr>
              <a:t>que </a:t>
            </a:r>
            <a:r>
              <a:rPr lang="pt-BR" sz="1200" i="1" dirty="0">
                <a:latin typeface="Times New Roman" panose="02020603050405020304" pitchFamily="18" charset="0"/>
                <a:cs typeface="Times New Roman" panose="02020603050405020304" pitchFamily="18" charset="0"/>
              </a:rPr>
              <a:t>contribui para </a:t>
            </a:r>
            <a:r>
              <a:rPr lang="pt-BR" sz="1400" b="1" i="1" dirty="0">
                <a:latin typeface="Times New Roman" panose="02020603050405020304" pitchFamily="18" charset="0"/>
                <a:cs typeface="Times New Roman" panose="02020603050405020304" pitchFamily="18" charset="0"/>
              </a:rPr>
              <a:t>redução do desperdício </a:t>
            </a:r>
            <a:r>
              <a:rPr lang="pt-BR" sz="1400" i="1" dirty="0" smtClean="0">
                <a:latin typeface="Times New Roman" panose="02020603050405020304" pitchFamily="18" charset="0"/>
                <a:cs typeface="Times New Roman" panose="02020603050405020304" pitchFamily="18" charset="0"/>
              </a:rPr>
              <a:t>e atribui </a:t>
            </a:r>
            <a:r>
              <a:rPr lang="pt-BR" sz="1600" b="1" i="1" dirty="0" smtClean="0">
                <a:latin typeface="Times New Roman" panose="02020603050405020304" pitchFamily="18" charset="0"/>
                <a:cs typeface="Times New Roman" panose="02020603050405020304" pitchFamily="18" charset="0"/>
              </a:rPr>
              <a:t>alto valor ao alimento:</a:t>
            </a:r>
            <a:endParaRPr lang="en-US" sz="1600" b="1" i="1" dirty="0">
              <a:latin typeface="Times New Roman" panose="02020603050405020304" pitchFamily="18" charset="0"/>
              <a:cs typeface="Times New Roman" panose="02020603050405020304" pitchFamily="18" charset="0"/>
            </a:endParaRPr>
          </a:p>
        </p:txBody>
      </p:sp>
      <p:graphicFrame>
        <p:nvGraphicFramePr>
          <p:cNvPr id="22" name="Tableau 21"/>
          <p:cNvGraphicFramePr>
            <a:graphicFrameLocks noGrp="1"/>
          </p:cNvGraphicFramePr>
          <p:nvPr/>
        </p:nvGraphicFramePr>
        <p:xfrm>
          <a:off x="123908" y="2329504"/>
          <a:ext cx="3535839" cy="2156928"/>
        </p:xfrm>
        <a:graphic>
          <a:graphicData uri="http://schemas.openxmlformats.org/drawingml/2006/table">
            <a:tbl>
              <a:tblPr>
                <a:tableStyleId>{5C22544A-7EE6-4342-B048-85BDC9FD1C3A}</a:tableStyleId>
              </a:tblPr>
              <a:tblGrid>
                <a:gridCol w="3535839"/>
              </a:tblGrid>
              <a:tr h="554631">
                <a:tc>
                  <a:txBody>
                    <a:bodyPr/>
                    <a:lstStyle/>
                    <a:p>
                      <a:pPr marL="87630" indent="0" algn="l" fontAlgn="b"/>
                      <a:r>
                        <a:rPr lang="fr-FR" sz="1400" b="1" u="none" strike="noStrike" dirty="0" smtClean="0">
                          <a:solidFill>
                            <a:schemeClr val="bg1"/>
                          </a:solidFill>
                          <a:effectLst/>
                        </a:rPr>
                        <a:t>1. </a:t>
                      </a:r>
                      <a:r>
                        <a:rPr lang="fr-FR" sz="1400" b="1" u="none" strike="noStrike" dirty="0" smtClean="0">
                          <a:solidFill>
                            <a:schemeClr val="tx1">
                              <a:lumMod val="75000"/>
                              <a:lumOff val="25000"/>
                            </a:schemeClr>
                          </a:solidFill>
                          <a:effectLst/>
                        </a:rPr>
                        <a:t>SUSTENTABILIDADE</a:t>
                      </a:r>
                      <a:br>
                        <a:rPr lang="fr-FR" sz="1400" b="1" u="none" strike="noStrike" dirty="0" smtClean="0">
                          <a:solidFill>
                            <a:schemeClr val="tx1">
                              <a:lumMod val="75000"/>
                              <a:lumOff val="25000"/>
                            </a:schemeClr>
                          </a:solidFill>
                          <a:effectLst/>
                        </a:rPr>
                      </a:br>
                      <a:r>
                        <a:rPr lang="fr-FR" sz="1400" b="1" u="none" strike="noStrike" dirty="0" smtClean="0">
                          <a:solidFill>
                            <a:schemeClr val="bg1"/>
                          </a:solidFill>
                          <a:effectLst/>
                        </a:rPr>
                        <a:t>    </a:t>
                      </a:r>
                      <a:r>
                        <a:rPr lang="pt-BR" sz="1100" b="0" u="none" strike="noStrike" kern="1200" baseline="0" dirty="0" smtClean="0">
                          <a:solidFill>
                            <a:schemeClr val="bg1"/>
                          </a:solidFill>
                          <a:effectLst/>
                          <a:latin typeface="+mn-lt"/>
                          <a:ea typeface="+mn-ea"/>
                          <a:cs typeface="+mn-cs"/>
                        </a:rPr>
                        <a:t>Impacto positivo nas pessoas e no meio ambiente</a:t>
                      </a:r>
                      <a:endParaRPr lang="fr-FR" sz="1100" b="0" i="0" u="none" strike="noStrike" dirty="0">
                        <a:solidFill>
                          <a:schemeClr val="bg1"/>
                        </a:solidFill>
                        <a:effectLst/>
                        <a:latin typeface="Arial" panose="020B0604020202020204"/>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B022"/>
                    </a:solidFill>
                  </a:tcPr>
                </a:tc>
              </a:tr>
              <a:tr h="545284">
                <a:tc>
                  <a:txBody>
                    <a:bodyPr/>
                    <a:lstStyle/>
                    <a:p>
                      <a:pPr marL="87630" indent="0" algn="l" fontAlgn="b"/>
                      <a:r>
                        <a:rPr lang="fr-FR" sz="1400" b="1" u="none" strike="noStrike" dirty="0" smtClean="0">
                          <a:solidFill>
                            <a:schemeClr val="bg1"/>
                          </a:solidFill>
                          <a:effectLst/>
                        </a:rPr>
                        <a:t>2. </a:t>
                      </a:r>
                      <a:r>
                        <a:rPr lang="fr-FR" sz="1400" b="1" u="none" strike="noStrike" dirty="0" smtClean="0">
                          <a:solidFill>
                            <a:schemeClr val="tx1">
                              <a:lumMod val="75000"/>
                              <a:lumOff val="25000"/>
                            </a:schemeClr>
                          </a:solidFill>
                          <a:effectLst/>
                        </a:rPr>
                        <a:t>TRANSPARÊNCIA</a:t>
                      </a:r>
                      <a:br>
                        <a:rPr lang="fr-FR" sz="1400" b="1" u="none" strike="noStrike" dirty="0" smtClean="0">
                          <a:solidFill>
                            <a:schemeClr val="bg1"/>
                          </a:solidFill>
                          <a:effectLst/>
                        </a:rPr>
                      </a:br>
                      <a:r>
                        <a:rPr lang="fr-FR" sz="1400" b="1" u="none" strike="noStrike" dirty="0" smtClean="0">
                          <a:solidFill>
                            <a:schemeClr val="bg1"/>
                          </a:solidFill>
                          <a:effectLst/>
                        </a:rPr>
                        <a:t>    </a:t>
                      </a:r>
                      <a:r>
                        <a:rPr lang="fr-FR" sz="1200" b="0" u="none" strike="noStrike" dirty="0" smtClean="0">
                          <a:solidFill>
                            <a:schemeClr val="bg1"/>
                          </a:solidFill>
                          <a:effectLst/>
                        </a:rPr>
                        <a:t>No abastecimento</a:t>
                      </a:r>
                      <a:endParaRPr lang="fr-FR" sz="1200" b="0" i="0" u="none" strike="noStrike" dirty="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0D082"/>
                    </a:solidFill>
                  </a:tcPr>
                </a:tc>
              </a:tr>
              <a:tr h="536896">
                <a:tc>
                  <a:txBody>
                    <a:bodyPr/>
                    <a:lstStyle/>
                    <a:p>
                      <a:pPr marL="271780" marR="0" indent="-184150" algn="l" defTabSz="914400" rtl="0" eaLnBrk="1" fontAlgn="b" latinLnBrk="0" hangingPunct="1">
                        <a:lnSpc>
                          <a:spcPct val="100000"/>
                        </a:lnSpc>
                        <a:spcBef>
                          <a:spcPts val="0"/>
                        </a:spcBef>
                        <a:spcAft>
                          <a:spcPts val="0"/>
                        </a:spcAft>
                        <a:buClrTx/>
                        <a:buSzTx/>
                        <a:buFontTx/>
                        <a:buNone/>
                        <a:defRPr/>
                      </a:pPr>
                      <a:r>
                        <a:rPr lang="fr-FR" sz="1400" b="1" u="none" strike="noStrike" dirty="0" smtClean="0">
                          <a:solidFill>
                            <a:schemeClr val="bg1"/>
                          </a:solidFill>
                          <a:effectLst/>
                        </a:rPr>
                        <a:t>3. </a:t>
                      </a:r>
                      <a:r>
                        <a:rPr lang="fr-FR" sz="1400" b="1" u="none" strike="noStrike" kern="1200" dirty="0" smtClean="0">
                          <a:solidFill>
                            <a:schemeClr val="tx1">
                              <a:lumMod val="75000"/>
                              <a:lumOff val="25000"/>
                            </a:schemeClr>
                          </a:solidFill>
                          <a:effectLst/>
                          <a:latin typeface="+mn-lt"/>
                          <a:ea typeface="+mn-ea"/>
                          <a:cs typeface="+mn-cs"/>
                        </a:rPr>
                        <a:t>RASTREABILIDADE</a:t>
                      </a:r>
                      <a:br>
                        <a:rPr lang="fr-FR" sz="1400" b="1" u="none" strike="noStrike" dirty="0" smtClean="0">
                          <a:solidFill>
                            <a:schemeClr val="tx1">
                              <a:lumMod val="75000"/>
                              <a:lumOff val="25000"/>
                            </a:schemeClr>
                          </a:solidFill>
                          <a:effectLst/>
                        </a:rPr>
                      </a:br>
                      <a:r>
                        <a:rPr lang="fr-FR" sz="1200" b="0" i="0" u="none" strike="noStrike" dirty="0" smtClean="0">
                          <a:solidFill>
                            <a:schemeClr val="bg1"/>
                          </a:solidFill>
                          <a:effectLst/>
                          <a:latin typeface="+mn-lt"/>
                        </a:rPr>
                        <a:t>Valor</a:t>
                      </a:r>
                      <a:r>
                        <a:rPr lang="fr-FR" sz="1200" b="0" i="0" u="none" strike="noStrike" baseline="0" dirty="0" smtClean="0">
                          <a:solidFill>
                            <a:schemeClr val="bg1"/>
                          </a:solidFill>
                          <a:effectLst/>
                          <a:latin typeface="+mn-lt"/>
                        </a:rPr>
                        <a:t> para os alimento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C04"/>
                    </a:solidFill>
                  </a:tcPr>
                </a:tc>
              </a:tr>
              <a:tr h="520117">
                <a:tc>
                  <a:txBody>
                    <a:bodyPr/>
                    <a:lstStyle/>
                    <a:p>
                      <a:pPr marL="271780" marR="0" indent="-184150" algn="l" defTabSz="914400" rtl="0" eaLnBrk="1" fontAlgn="b" latinLnBrk="0" hangingPunct="1">
                        <a:lnSpc>
                          <a:spcPct val="100000"/>
                        </a:lnSpc>
                        <a:spcBef>
                          <a:spcPts val="0"/>
                        </a:spcBef>
                        <a:spcAft>
                          <a:spcPts val="0"/>
                        </a:spcAft>
                        <a:buClrTx/>
                        <a:buSzTx/>
                        <a:buFontTx/>
                        <a:buNone/>
                        <a:defRPr/>
                      </a:pPr>
                      <a:r>
                        <a:rPr lang="fr-FR" sz="1400" b="1" i="0" u="none" strike="noStrike" dirty="0" smtClean="0">
                          <a:solidFill>
                            <a:schemeClr val="bg1"/>
                          </a:solidFill>
                          <a:effectLst/>
                          <a:latin typeface="+mn-lt"/>
                        </a:rPr>
                        <a:t>4. </a:t>
                      </a:r>
                      <a:r>
                        <a:rPr lang="fr-FR" sz="1400" b="1" u="none" strike="noStrike" dirty="0" smtClean="0">
                          <a:solidFill>
                            <a:schemeClr val="tx1">
                              <a:lumMod val="75000"/>
                              <a:lumOff val="25000"/>
                            </a:schemeClr>
                          </a:solidFill>
                          <a:effectLst/>
                        </a:rPr>
                        <a:t>CONFORMIDADE</a:t>
                      </a:r>
                      <a:endParaRPr lang="fr-FR" sz="1400" b="1" u="none" strike="noStrike" kern="1200" dirty="0" smtClean="0">
                        <a:solidFill>
                          <a:schemeClr val="tx1">
                            <a:lumMod val="75000"/>
                            <a:lumOff val="25000"/>
                          </a:schemeClr>
                        </a:solidFill>
                        <a:effectLst/>
                        <a:latin typeface="+mn-lt"/>
                        <a:ea typeface="+mn-ea"/>
                        <a:cs typeface="+mn-cs"/>
                      </a:endParaRPr>
                    </a:p>
                    <a:p>
                      <a:pPr marL="271780" marR="0" indent="-184150" algn="l" defTabSz="914400" rtl="0" eaLnBrk="1" fontAlgn="b" latinLnBrk="0" hangingPunct="1">
                        <a:lnSpc>
                          <a:spcPct val="100000"/>
                        </a:lnSpc>
                        <a:spcBef>
                          <a:spcPts val="0"/>
                        </a:spcBef>
                        <a:spcAft>
                          <a:spcPts val="0"/>
                        </a:spcAft>
                        <a:buClrTx/>
                        <a:buSzTx/>
                        <a:buFontTx/>
                        <a:buNone/>
                        <a:defRPr/>
                      </a:pPr>
                      <a:r>
                        <a:rPr lang="fr-FR" sz="1200" b="0" i="0" u="none" strike="noStrike" dirty="0" smtClean="0">
                          <a:solidFill>
                            <a:schemeClr val="bg1"/>
                          </a:solidFill>
                          <a:effectLst/>
                          <a:latin typeface="+mn-lt"/>
                        </a:rPr>
                        <a:t>    com vários organismos certificadores</a:t>
                      </a:r>
                      <a:endParaRPr lang="fr-FR" sz="1200" b="0" i="0" u="none" strike="noStrike" dirty="0" smtClean="0">
                        <a:solidFill>
                          <a:schemeClr val="bg1"/>
                        </a:solidFill>
                        <a:effectLst/>
                        <a:latin typeface="+mn-lt"/>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A679"/>
                    </a:solidFill>
                  </a:tcPr>
                </a:tc>
              </a:tr>
            </a:tbl>
          </a:graphicData>
        </a:graphic>
      </p:graphicFrame>
      <p:sp>
        <p:nvSpPr>
          <p:cNvPr id="23" name="Triangle isocèle 22"/>
          <p:cNvSpPr/>
          <p:nvPr/>
        </p:nvSpPr>
        <p:spPr>
          <a:xfrm rot="5400000">
            <a:off x="2942307" y="3119623"/>
            <a:ext cx="2255520" cy="563880"/>
          </a:xfrm>
          <a:prstGeom prst="triangle">
            <a:avLst>
              <a:gd name="adj" fmla="val 49470"/>
            </a:avLst>
          </a:prstGeom>
          <a:solidFill>
            <a:srgbClr val="DFDBD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10" name="Tableau 9"/>
          <p:cNvGraphicFramePr>
            <a:graphicFrameLocks noGrp="1"/>
          </p:cNvGraphicFramePr>
          <p:nvPr/>
        </p:nvGraphicFramePr>
        <p:xfrm>
          <a:off x="4468484" y="2475307"/>
          <a:ext cx="3261408" cy="1813906"/>
        </p:xfrm>
        <a:graphic>
          <a:graphicData uri="http://schemas.openxmlformats.org/drawingml/2006/table">
            <a:tbl>
              <a:tblPr>
                <a:tableStyleId>{5C22544A-7EE6-4342-B048-85BDC9FD1C3A}</a:tableStyleId>
              </a:tblPr>
              <a:tblGrid>
                <a:gridCol w="812902"/>
                <a:gridCol w="2448506"/>
              </a:tblGrid>
              <a:tr h="368804">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c>
                  <a:txBody>
                    <a:bodyPr/>
                    <a:lstStyle/>
                    <a:p>
                      <a:pPr lvl="0" algn="l" fontAlgn="b"/>
                      <a:endParaRPr lang="fr-FR" sz="1200" b="1" u="none" strike="noStrike" kern="1200" dirty="0">
                        <a:solidFill>
                          <a:srgbClr val="68B022"/>
                        </a:solidFill>
                        <a:effectLst/>
                        <a:latin typeface="+mj-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28575" cap="flat" cmpd="sng" algn="ctr">
                      <a:solidFill>
                        <a:srgbClr val="68B02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AE5"/>
                    </a:solidFill>
                  </a:tcPr>
                </a:tc>
              </a:tr>
              <a:tr h="361437">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50196"/>
                      </a:schemeClr>
                    </a:solidFill>
                  </a:tcPr>
                </a:tc>
              </a:tr>
              <a:tr h="354071">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AE5"/>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AE5"/>
                    </a:solidFill>
                  </a:tcPr>
                </a:tc>
              </a:tr>
              <a:tr h="370757">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50196"/>
                      </a:scheme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50196"/>
                      </a:schemeClr>
                    </a:solidFill>
                  </a:tcPr>
                </a:tc>
              </a:tr>
              <a:tr h="358837">
                <a:tc>
                  <a:txBody>
                    <a:bodyPr/>
                    <a:lstStyle/>
                    <a:p>
                      <a:pPr marL="87630" indent="0" algn="l" fontAlgn="b"/>
                      <a:endParaRPr lang="fr-FR" sz="1200" b="0" i="0" u="none" strike="noStrike" dirty="0">
                        <a:solidFill>
                          <a:schemeClr val="tx1"/>
                        </a:solidFill>
                        <a:effectLst/>
                        <a:latin typeface="+mj-lt"/>
                      </a:endParaRPr>
                    </a:p>
                  </a:txBody>
                  <a:tcPr marL="7620" marR="7620" marT="7620" marB="0" anchor="ctr">
                    <a:lnL w="28575" cap="flat" cmpd="sng" algn="ctr">
                      <a:solidFill>
                        <a:srgbClr val="68B022"/>
                      </a:solidFill>
                      <a:prstDash val="solid"/>
                      <a:round/>
                      <a:headEnd type="none" w="med" len="med"/>
                      <a:tailEnd type="none" w="med" len="med"/>
                    </a:lnL>
                    <a:lnR w="12700" cmpd="sng">
                      <a:noFill/>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c>
                  <a:txBody>
                    <a:bodyPr/>
                    <a:lstStyle/>
                    <a:p>
                      <a:pPr lvl="0" algn="l" fontAlgn="b"/>
                      <a:endParaRPr lang="fr-FR" sz="1200" b="1" kern="1200" dirty="0">
                        <a:solidFill>
                          <a:srgbClr val="68B022"/>
                        </a:solidFill>
                        <a:latin typeface="+mn-lt"/>
                        <a:ea typeface="+mn-ea"/>
                        <a:cs typeface="+mn-cs"/>
                      </a:endParaRPr>
                    </a:p>
                  </a:txBody>
                  <a:tcPr marL="72000" marR="7620" marT="7620" marB="0" anchor="ctr">
                    <a:lnL w="12700" cmpd="sng">
                      <a:noFill/>
                    </a:lnL>
                    <a:lnR w="28575" cap="flat" cmpd="sng" algn="ctr">
                      <a:solidFill>
                        <a:srgbClr val="68B022"/>
                      </a:solidFill>
                      <a:prstDash val="solid"/>
                      <a:round/>
                      <a:headEnd type="none" w="med" len="med"/>
                      <a:tailEnd type="none" w="med" len="med"/>
                    </a:lnR>
                    <a:lnT w="12700" cmpd="sng">
                      <a:noFill/>
                    </a:lnT>
                    <a:lnB w="28575" cap="flat" cmpd="sng" algn="ctr">
                      <a:solidFill>
                        <a:srgbClr val="68B022"/>
                      </a:solidFill>
                      <a:prstDash val="solid"/>
                      <a:round/>
                      <a:headEnd type="none" w="med" len="med"/>
                      <a:tailEnd type="none" w="med" len="med"/>
                    </a:lnB>
                    <a:lnTlToBr w="12700" cmpd="sng">
                      <a:noFill/>
                      <a:prstDash val="solid"/>
                    </a:lnTlToBr>
                    <a:lnBlToTr w="12700" cmpd="sng">
                      <a:noFill/>
                      <a:prstDash val="solid"/>
                    </a:lnBlToTr>
                    <a:solidFill>
                      <a:srgbClr val="F3E9E5">
                        <a:alpha val="50196"/>
                      </a:srgbClr>
                    </a:solidFill>
                  </a:tcPr>
                </a:tc>
              </a:tr>
            </a:tbl>
          </a:graphicData>
        </a:graphic>
      </p:graphicFrame>
      <p:pic>
        <p:nvPicPr>
          <p:cNvPr id="3" name="Imagem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974742" y="2597819"/>
            <a:ext cx="2197470" cy="1607488"/>
          </a:xfrm>
          <a:prstGeom prst="rect">
            <a:avLst/>
          </a:prstGeom>
        </p:spPr>
      </p:pic>
      <p:pic>
        <p:nvPicPr>
          <p:cNvPr id="4" name="Imagem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9478" y="2551435"/>
            <a:ext cx="811164" cy="457423"/>
          </a:xfrm>
          <a:prstGeom prst="rect">
            <a:avLst/>
          </a:prstGeom>
        </p:spPr>
      </p:pic>
      <p:pic>
        <p:nvPicPr>
          <p:cNvPr id="5" name="Image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8958" y="3160864"/>
            <a:ext cx="765054" cy="546282"/>
          </a:xfrm>
          <a:prstGeom prst="rect">
            <a:avLst/>
          </a:prstGeom>
        </p:spPr>
      </p:pic>
      <p:pic>
        <p:nvPicPr>
          <p:cNvPr id="6" name="Imagem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4455" y="3231334"/>
            <a:ext cx="914488" cy="499720"/>
          </a:xfrm>
          <a:prstGeom prst="rect">
            <a:avLst/>
          </a:prstGeom>
        </p:spPr>
      </p:pic>
      <p:pic>
        <p:nvPicPr>
          <p:cNvPr id="7" name="Imagem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8484" y="3434005"/>
            <a:ext cx="635971" cy="476364"/>
          </a:xfrm>
          <a:prstGeom prst="rect">
            <a:avLst/>
          </a:prstGeom>
        </p:spPr>
      </p:pic>
      <p:pic>
        <p:nvPicPr>
          <p:cNvPr id="8" name="Imagem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67692" y="2551435"/>
            <a:ext cx="758865" cy="509648"/>
          </a:xfrm>
          <a:prstGeom prst="rect">
            <a:avLst/>
          </a:prstGeom>
        </p:spPr>
      </p:pic>
      <p:pic>
        <p:nvPicPr>
          <p:cNvPr id="9" name="Imagem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83739" y="2884602"/>
            <a:ext cx="977960" cy="586776"/>
          </a:xfrm>
          <a:prstGeom prst="rect">
            <a:avLst/>
          </a:prstGeom>
        </p:spPr>
      </p:pic>
      <p:pic>
        <p:nvPicPr>
          <p:cNvPr id="12" name="Imagem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33383" y="3231334"/>
            <a:ext cx="586348" cy="766763"/>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201"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GB" dirty="0">
              <a:solidFill>
                <a:prstClr val="black"/>
              </a:solidFill>
            </a:endParaRPr>
          </a:p>
        </p:txBody>
      </p:sp>
      <p:sp>
        <p:nvSpPr>
          <p:cNvPr id="2" name="Titre 1"/>
          <p:cNvSpPr>
            <a:spLocks noGrp="1"/>
          </p:cNvSpPr>
          <p:nvPr>
            <p:ph type="title"/>
          </p:nvPr>
        </p:nvSpPr>
        <p:spPr/>
        <p:txBody>
          <a:bodyPr/>
          <a:lstStyle/>
          <a:p>
            <a:r>
              <a:rPr lang="en-GB" sz="2000" dirty="0" err="1"/>
              <a:t>Potencial</a:t>
            </a:r>
            <a:r>
              <a:rPr lang="en-GB" dirty="0"/>
              <a:t> </a:t>
            </a:r>
            <a:r>
              <a:rPr lang="en-GB" dirty="0" smtClean="0"/>
              <a:t>dos </a:t>
            </a:r>
            <a:r>
              <a:rPr lang="en-GB" dirty="0" err="1"/>
              <a:t>Alimentos</a:t>
            </a:r>
            <a:endParaRPr lang="en-GB" dirty="0"/>
          </a:p>
        </p:txBody>
      </p:sp>
      <p:sp>
        <p:nvSpPr>
          <p:cNvPr id="3" name="Espace réservé du numéro de diapositive 2"/>
          <p:cNvSpPr>
            <a:spLocks noGrp="1"/>
          </p:cNvSpPr>
          <p:nvPr>
            <p:ph type="sldNum" sz="quarter" idx="12"/>
          </p:nvPr>
        </p:nvSpPr>
        <p:spPr/>
        <p:txBody>
          <a:bodyPr/>
          <a:lstStyle/>
          <a:p>
            <a:fld id="{8AD48C63-78A6-4D64-B839-4870EFEB9C13}" type="slidenum">
              <a:rPr lang="en-GB" smtClean="0">
                <a:solidFill>
                  <a:srgbClr val="A8A09E"/>
                </a:solidFill>
              </a:rPr>
            </a:fld>
            <a:endParaRPr lang="en-GB" dirty="0">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lstStyle/>
          <a:p>
            <a:r>
              <a:rPr lang="pt-BR" dirty="0">
                <a:solidFill>
                  <a:srgbClr val="FF0066"/>
                </a:solidFill>
              </a:rPr>
              <a:t>A biodiversidade é um imperativo</a:t>
            </a:r>
            <a:endParaRPr lang="en-GB" dirty="0">
              <a:solidFill>
                <a:srgbClr val="FF0066"/>
              </a:solidFill>
            </a:endParaRPr>
          </a:p>
        </p:txBody>
      </p:sp>
      <p:sp>
        <p:nvSpPr>
          <p:cNvPr id="14" name="Rectangle 13"/>
          <p:cNvSpPr/>
          <p:nvPr/>
        </p:nvSpPr>
        <p:spPr>
          <a:xfrm>
            <a:off x="333210" y="1162486"/>
            <a:ext cx="2352841" cy="204406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18" name="Image 17"/>
          <p:cNvPicPr>
            <a:picLocks noChangeAspect="1"/>
          </p:cNvPicPr>
          <p:nvPr/>
        </p:nvPicPr>
        <p:blipFill rotWithShape="1">
          <a:blip r:embed="rId1" cstate="screen"/>
          <a:srcRect l="9057" r="7442" b="15825"/>
          <a:stretch>
            <a:fillRect/>
          </a:stretch>
        </p:blipFill>
        <p:spPr>
          <a:xfrm>
            <a:off x="6812526" y="2585229"/>
            <a:ext cx="620134" cy="625136"/>
          </a:xfrm>
          <a:prstGeom prst="rect">
            <a:avLst/>
          </a:prstGeom>
        </p:spPr>
      </p:pic>
      <p:sp>
        <p:nvSpPr>
          <p:cNvPr id="19" name="ZoneTexte 18"/>
          <p:cNvSpPr txBox="1"/>
          <p:nvPr/>
        </p:nvSpPr>
        <p:spPr>
          <a:xfrm>
            <a:off x="6440721" y="1683454"/>
            <a:ext cx="2222825" cy="695018"/>
          </a:xfrm>
          <a:prstGeom prst="rect">
            <a:avLst/>
          </a:prstGeom>
          <a:noFill/>
        </p:spPr>
        <p:txBody>
          <a:bodyPr wrap="square" lIns="0" tIns="0" rIns="0" bIns="0" rtlCol="0">
            <a:noAutofit/>
          </a:bodyPr>
          <a:lstStyle/>
          <a:p>
            <a:r>
              <a:rPr lang="pt-BR" sz="1600" dirty="0"/>
              <a:t>A ineficiência alimentar deve ser otimizada.</a:t>
            </a:r>
            <a:endParaRPr lang="en-GB" sz="1600" dirty="0"/>
          </a:p>
        </p:txBody>
      </p:sp>
      <p:sp>
        <p:nvSpPr>
          <p:cNvPr id="21" name="ZoneTexte 20"/>
          <p:cNvSpPr txBox="1"/>
          <p:nvPr/>
        </p:nvSpPr>
        <p:spPr>
          <a:xfrm>
            <a:off x="405805" y="1162486"/>
            <a:ext cx="2280246" cy="262420"/>
          </a:xfrm>
          <a:prstGeom prst="rect">
            <a:avLst/>
          </a:prstGeom>
          <a:noFill/>
        </p:spPr>
        <p:txBody>
          <a:bodyPr wrap="square" lIns="0" tIns="0" rIns="0" bIns="0" rtlCol="0">
            <a:noAutofit/>
          </a:bodyPr>
          <a:lstStyle/>
          <a:p>
            <a:r>
              <a:rPr lang="en-GB" sz="1100" b="1" cap="small" dirty="0" err="1" smtClean="0"/>
              <a:t>Composi</a:t>
            </a:r>
            <a:r>
              <a:rPr lang="pt-BR" sz="1100" b="1" cap="small" dirty="0" err="1" smtClean="0"/>
              <a:t>ção</a:t>
            </a:r>
            <a:r>
              <a:rPr lang="pt-BR" sz="1100" b="1" cap="small" dirty="0" smtClean="0"/>
              <a:t> Global de Resíduos</a:t>
            </a:r>
            <a:endParaRPr lang="en-GB" sz="1100" b="1" cap="small" dirty="0"/>
          </a:p>
        </p:txBody>
      </p:sp>
      <p:sp>
        <p:nvSpPr>
          <p:cNvPr id="23" name="ZoneTexte 22"/>
          <p:cNvSpPr txBox="1"/>
          <p:nvPr/>
        </p:nvSpPr>
        <p:spPr>
          <a:xfrm>
            <a:off x="6441663" y="3441482"/>
            <a:ext cx="2213007" cy="602825"/>
          </a:xfrm>
          <a:prstGeom prst="rect">
            <a:avLst/>
          </a:prstGeom>
          <a:noFill/>
        </p:spPr>
        <p:txBody>
          <a:bodyPr wrap="square" lIns="0" tIns="0" rIns="0" bIns="0" rtlCol="0">
            <a:noAutofit/>
          </a:bodyPr>
          <a:lstStyle/>
          <a:p>
            <a:r>
              <a:rPr lang="pt-BR" dirty="0" smtClean="0"/>
              <a:t>Encontrar </a:t>
            </a:r>
            <a:r>
              <a:rPr lang="pt-BR" dirty="0"/>
              <a:t>novas alternativas para evitar o esgotamento dos recursos.</a:t>
            </a:r>
            <a:endParaRPr lang="en-GB" dirty="0"/>
          </a:p>
        </p:txBody>
      </p:sp>
      <p:sp>
        <p:nvSpPr>
          <p:cNvPr id="28" name="Rectangle 27"/>
          <p:cNvSpPr/>
          <p:nvPr/>
        </p:nvSpPr>
        <p:spPr>
          <a:xfrm>
            <a:off x="5493330" y="-550334"/>
            <a:ext cx="811969" cy="6217920"/>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p>
        </p:txBody>
      </p:sp>
      <p:pic>
        <p:nvPicPr>
          <p:cNvPr id="16" name="Image 15"/>
          <p:cNvPicPr>
            <a:picLocks noChangeAspect="1"/>
          </p:cNvPicPr>
          <p:nvPr/>
        </p:nvPicPr>
        <p:blipFill rotWithShape="1">
          <a:blip r:embed="rId2" cstate="screen"/>
          <a:srcRect l="11270" t="6032" r="12857" b="21428"/>
          <a:stretch>
            <a:fillRect/>
          </a:stretch>
        </p:blipFill>
        <p:spPr>
          <a:xfrm>
            <a:off x="5507961" y="2465593"/>
            <a:ext cx="782707" cy="748320"/>
          </a:xfrm>
          <a:prstGeom prst="rect">
            <a:avLst/>
          </a:prstGeom>
        </p:spPr>
      </p:pic>
      <p:sp>
        <p:nvSpPr>
          <p:cNvPr id="29" name="Rectangle 28"/>
          <p:cNvSpPr/>
          <p:nvPr/>
        </p:nvSpPr>
        <p:spPr>
          <a:xfrm>
            <a:off x="341821" y="3512814"/>
            <a:ext cx="4321620" cy="97783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dirty="0"/>
          </a:p>
        </p:txBody>
      </p:sp>
      <p:pic>
        <p:nvPicPr>
          <p:cNvPr id="30" name="Image 29"/>
          <p:cNvPicPr>
            <a:picLocks noChangeAspect="1"/>
          </p:cNvPicPr>
          <p:nvPr/>
        </p:nvPicPr>
        <p:blipFill rotWithShape="1">
          <a:blip r:embed="rId3" cstate="screen"/>
          <a:srcRect b="16000"/>
          <a:stretch>
            <a:fillRect/>
          </a:stretch>
        </p:blipFill>
        <p:spPr>
          <a:xfrm>
            <a:off x="7531890" y="2617819"/>
            <a:ext cx="700868" cy="588728"/>
          </a:xfrm>
          <a:prstGeom prst="rect">
            <a:avLst/>
          </a:prstGeom>
        </p:spPr>
      </p:pic>
      <p:pic>
        <p:nvPicPr>
          <p:cNvPr id="24" name="Image 23"/>
          <p:cNvPicPr>
            <a:picLocks noChangeAspect="1"/>
          </p:cNvPicPr>
          <p:nvPr/>
        </p:nvPicPr>
        <p:blipFill rotWithShape="1">
          <a:blip r:embed="rId4" cstate="screen"/>
          <a:srcRect/>
          <a:stretch>
            <a:fillRect/>
          </a:stretch>
        </p:blipFill>
        <p:spPr>
          <a:xfrm>
            <a:off x="549375" y="1358419"/>
            <a:ext cx="2333625" cy="2039078"/>
          </a:xfrm>
          <a:prstGeom prst="rect">
            <a:avLst/>
          </a:prstGeom>
        </p:spPr>
      </p:pic>
      <p:cxnSp>
        <p:nvCxnSpPr>
          <p:cNvPr id="25" name="Connecteur droit 24"/>
          <p:cNvCxnSpPr/>
          <p:nvPr/>
        </p:nvCxnSpPr>
        <p:spPr>
          <a:xfrm>
            <a:off x="2987972" y="1499390"/>
            <a:ext cx="0" cy="864000"/>
          </a:xfrm>
          <a:prstGeom prst="line">
            <a:avLst/>
          </a:prstGeom>
          <a:ln w="28575">
            <a:solidFill>
              <a:srgbClr val="68B222"/>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49375" y="3724232"/>
            <a:ext cx="4641750" cy="854080"/>
          </a:xfrm>
          <a:prstGeom prst="rect">
            <a:avLst/>
          </a:prstGeom>
          <a:solidFill>
            <a:schemeClr val="bg1"/>
          </a:solidFill>
          <a:ln>
            <a:solidFill>
              <a:srgbClr val="68B222"/>
            </a:solidFill>
          </a:ln>
        </p:spPr>
        <p:txBody>
          <a:bodyPr wrap="square" lIns="68580" tIns="34290" rIns="68580" bIns="34290">
            <a:spAutoFit/>
          </a:bodyPr>
          <a:lstStyle/>
          <a:p>
            <a:r>
              <a:rPr lang="en-GB" sz="1200" dirty="0" smtClean="0"/>
              <a:t>O </a:t>
            </a:r>
            <a:r>
              <a:rPr lang="en-GB" sz="1200" dirty="0" err="1" smtClean="0"/>
              <a:t>mundo</a:t>
            </a:r>
            <a:r>
              <a:rPr lang="en-GB" sz="1200" dirty="0" smtClean="0"/>
              <a:t> tem </a:t>
            </a:r>
            <a:r>
              <a:rPr lang="en-GB" sz="1200" dirty="0" err="1" smtClean="0"/>
              <a:t>mais</a:t>
            </a:r>
            <a:r>
              <a:rPr lang="en-GB" sz="1200" dirty="0" smtClean="0"/>
              <a:t> de </a:t>
            </a:r>
            <a:r>
              <a:rPr lang="en-GB" b="1" dirty="0" smtClean="0">
                <a:solidFill>
                  <a:srgbClr val="68B222"/>
                </a:solidFill>
              </a:rPr>
              <a:t>20,000</a:t>
            </a:r>
            <a:r>
              <a:rPr lang="en-GB" dirty="0" smtClean="0"/>
              <a:t> </a:t>
            </a:r>
            <a:r>
              <a:rPr lang="en-GB" sz="1200" dirty="0" err="1" smtClean="0"/>
              <a:t>plantas</a:t>
            </a:r>
            <a:r>
              <a:rPr lang="en-GB" sz="1200" dirty="0" smtClean="0"/>
              <a:t> </a:t>
            </a:r>
            <a:r>
              <a:rPr lang="en-GB" sz="1200" dirty="0" err="1"/>
              <a:t>comestíveis</a:t>
            </a:r>
            <a:r>
              <a:rPr lang="en-GB" sz="1200" dirty="0"/>
              <a:t>, </a:t>
            </a:r>
            <a:r>
              <a:rPr lang="en-GB" sz="1200" dirty="0" smtClean="0"/>
              <a:t>mas </a:t>
            </a:r>
            <a:r>
              <a:rPr lang="en-GB" b="1" dirty="0" smtClean="0">
                <a:solidFill>
                  <a:srgbClr val="68B222"/>
                </a:solidFill>
              </a:rPr>
              <a:t>75% </a:t>
            </a:r>
            <a:r>
              <a:rPr lang="pt-BR" sz="1200" dirty="0"/>
              <a:t>do suprimento global de alimentos vem de apenas</a:t>
            </a:r>
            <a:r>
              <a:rPr lang="en-GB" sz="1200" dirty="0" smtClean="0"/>
              <a:t> </a:t>
            </a:r>
            <a:r>
              <a:rPr lang="en-GB" sz="1500" b="1" dirty="0">
                <a:solidFill>
                  <a:srgbClr val="68B222"/>
                </a:solidFill>
              </a:rPr>
              <a:t>12 </a:t>
            </a:r>
            <a:r>
              <a:rPr lang="pt-BR" sz="1500" b="1" dirty="0">
                <a:solidFill>
                  <a:srgbClr val="68B222"/>
                </a:solidFill>
              </a:rPr>
              <a:t>plantas e cinco espécies animais.</a:t>
            </a:r>
            <a:r>
              <a:rPr lang="en-GB" sz="1500" b="1" dirty="0" smtClean="0">
                <a:solidFill>
                  <a:srgbClr val="68B222"/>
                </a:solidFill>
              </a:rPr>
              <a:t>.</a:t>
            </a:r>
            <a:endParaRPr lang="en-GB" sz="1200" dirty="0">
              <a:solidFill>
                <a:srgbClr val="68B222"/>
              </a:solidFill>
            </a:endParaRPr>
          </a:p>
        </p:txBody>
      </p:sp>
      <p:sp>
        <p:nvSpPr>
          <p:cNvPr id="31" name="ZoneTexte 30"/>
          <p:cNvSpPr txBox="1"/>
          <p:nvPr/>
        </p:nvSpPr>
        <p:spPr>
          <a:xfrm>
            <a:off x="405806" y="3502071"/>
            <a:ext cx="4394000" cy="201694"/>
          </a:xfrm>
          <a:prstGeom prst="rect">
            <a:avLst/>
          </a:prstGeom>
          <a:noFill/>
        </p:spPr>
        <p:txBody>
          <a:bodyPr wrap="square" lIns="0" tIns="0" rIns="0" bIns="0" rtlCol="0">
            <a:noAutofit/>
          </a:bodyPr>
          <a:lstStyle/>
          <a:p>
            <a:r>
              <a:rPr lang="pt-BR" sz="1200" b="1" cap="small" dirty="0"/>
              <a:t>A biodiversidade é preciosa e tem de ser preservada</a:t>
            </a:r>
            <a:endParaRPr lang="en-GB" sz="1200" b="1" cap="small" dirty="0"/>
          </a:p>
        </p:txBody>
      </p:sp>
      <p:sp>
        <p:nvSpPr>
          <p:cNvPr id="32" name="Rectangle 31"/>
          <p:cNvSpPr/>
          <p:nvPr/>
        </p:nvSpPr>
        <p:spPr>
          <a:xfrm>
            <a:off x="3056191" y="2465593"/>
            <a:ext cx="2407633" cy="1051570"/>
          </a:xfrm>
          <a:prstGeom prst="rect">
            <a:avLst/>
          </a:prstGeom>
        </p:spPr>
        <p:txBody>
          <a:bodyPr wrap="square" lIns="68580" tIns="34290" rIns="68580" bIns="34290">
            <a:spAutoFit/>
          </a:bodyPr>
          <a:lstStyle/>
          <a:p>
            <a:pPr>
              <a:lnSpc>
                <a:spcPct val="114000"/>
              </a:lnSpc>
            </a:pPr>
            <a:r>
              <a:rPr lang="en-GB" sz="1400" b="1" dirty="0"/>
              <a:t>1.3 </a:t>
            </a:r>
            <a:r>
              <a:rPr lang="pt-BR" sz="1400" b="1" dirty="0" smtClean="0"/>
              <a:t>bilhões </a:t>
            </a:r>
            <a:r>
              <a:rPr lang="pt-BR" sz="1400" b="1" dirty="0"/>
              <a:t>de toneladas </a:t>
            </a:r>
            <a:r>
              <a:rPr lang="pt-BR" sz="1400" dirty="0" smtClean="0"/>
              <a:t>de alimentos </a:t>
            </a:r>
            <a:r>
              <a:rPr lang="pt-BR" sz="1400" dirty="0"/>
              <a:t>desperdiçados globalmente</a:t>
            </a:r>
            <a:endParaRPr lang="en-GB" sz="1400" dirty="0" smtClean="0"/>
          </a:p>
          <a:p>
            <a:pPr>
              <a:lnSpc>
                <a:spcPct val="114000"/>
              </a:lnSpc>
            </a:pPr>
            <a:r>
              <a:rPr lang="en-GB" sz="1400" i="1" dirty="0" smtClean="0"/>
              <a:t>(</a:t>
            </a:r>
            <a:r>
              <a:rPr lang="en-GB" sz="1400" i="1" dirty="0" err="1" smtClean="0"/>
              <a:t>Sem</a:t>
            </a:r>
            <a:r>
              <a:rPr lang="en-GB" sz="1400" i="1" dirty="0" smtClean="0"/>
              <a:t> </a:t>
            </a:r>
            <a:r>
              <a:rPr lang="en-GB" sz="1400" i="1" dirty="0" err="1" smtClean="0"/>
              <a:t>incluir</a:t>
            </a:r>
            <a:r>
              <a:rPr lang="en-GB" sz="1400" i="1" dirty="0" smtClean="0"/>
              <a:t> MSW*)**</a:t>
            </a:r>
            <a:endParaRPr lang="en-GB" sz="1400" i="1" dirty="0"/>
          </a:p>
        </p:txBody>
      </p:sp>
      <p:cxnSp>
        <p:nvCxnSpPr>
          <p:cNvPr id="33" name="Connecteur droit 32"/>
          <p:cNvCxnSpPr/>
          <p:nvPr/>
        </p:nvCxnSpPr>
        <p:spPr>
          <a:xfrm>
            <a:off x="3011225" y="2539271"/>
            <a:ext cx="0" cy="837000"/>
          </a:xfrm>
          <a:prstGeom prst="line">
            <a:avLst/>
          </a:prstGeom>
          <a:ln w="28575">
            <a:solidFill>
              <a:srgbClr val="68B222"/>
            </a:solidFill>
          </a:ln>
        </p:spPr>
        <p:style>
          <a:lnRef idx="1">
            <a:schemeClr val="accent1"/>
          </a:lnRef>
          <a:fillRef idx="0">
            <a:schemeClr val="accent1"/>
          </a:fillRef>
          <a:effectRef idx="0">
            <a:schemeClr val="accent1"/>
          </a:effectRef>
          <a:fontRef idx="minor">
            <a:schemeClr val="tx1"/>
          </a:fontRef>
        </p:style>
      </p:cxnSp>
      <p:sp>
        <p:nvSpPr>
          <p:cNvPr id="34" name="ZoneTexte 33"/>
          <p:cNvSpPr txBox="1"/>
          <p:nvPr/>
        </p:nvSpPr>
        <p:spPr>
          <a:xfrm>
            <a:off x="3048108" y="1538953"/>
            <a:ext cx="2394982" cy="854611"/>
          </a:xfrm>
          <a:prstGeom prst="rect">
            <a:avLst/>
          </a:prstGeom>
          <a:noFill/>
        </p:spPr>
        <p:txBody>
          <a:bodyPr wrap="square" lIns="0" tIns="0" rIns="0" bIns="0" rtlCol="0">
            <a:noAutofit/>
          </a:bodyPr>
          <a:lstStyle/>
          <a:p>
            <a:pPr>
              <a:lnSpc>
                <a:spcPct val="114000"/>
              </a:lnSpc>
            </a:pPr>
            <a:r>
              <a:rPr lang="en-GB" sz="2000" b="1" dirty="0"/>
              <a:t>44% </a:t>
            </a:r>
            <a:r>
              <a:rPr lang="pt-BR" sz="1500" dirty="0"/>
              <a:t>dos resíduos* (MSW) representam comida e verde</a:t>
            </a:r>
            <a:endParaRPr lang="en-GB" b="1" dirty="0"/>
          </a:p>
        </p:txBody>
      </p:sp>
      <p:sp>
        <p:nvSpPr>
          <p:cNvPr id="35" name="Rectangle 34"/>
          <p:cNvSpPr/>
          <p:nvPr/>
        </p:nvSpPr>
        <p:spPr>
          <a:xfrm>
            <a:off x="3056191" y="4687924"/>
            <a:ext cx="5344859" cy="392415"/>
          </a:xfrm>
          <a:prstGeom prst="rect">
            <a:avLst/>
          </a:prstGeom>
        </p:spPr>
        <p:txBody>
          <a:bodyPr wrap="square" lIns="68580" tIns="34290" rIns="68580" bIns="34290">
            <a:spAutoFit/>
          </a:bodyPr>
          <a:lstStyle/>
          <a:p>
            <a:r>
              <a:rPr lang="en-US" sz="700" i="1" dirty="0">
                <a:solidFill>
                  <a:schemeClr val="tx1">
                    <a:lumMod val="50000"/>
                    <a:lumOff val="50000"/>
                  </a:schemeClr>
                </a:solidFill>
              </a:rPr>
              <a:t>*MSW = </a:t>
            </a:r>
            <a:r>
              <a:rPr lang="pt-BR" sz="700" i="1" dirty="0">
                <a:solidFill>
                  <a:schemeClr val="tx1">
                    <a:lumMod val="50000"/>
                    <a:lumOff val="50000"/>
                  </a:schemeClr>
                </a:solidFill>
              </a:rPr>
              <a:t>Resíduos Sólidos Municipais: itens do cotidiano provenientes de residências, escolas, hospitais e empresas </a:t>
            </a:r>
            <a:endParaRPr lang="pt-BR" sz="700" i="1" dirty="0" smtClean="0">
              <a:solidFill>
                <a:schemeClr val="tx1">
                  <a:lumMod val="50000"/>
                  <a:lumOff val="50000"/>
                </a:schemeClr>
              </a:solidFill>
            </a:endParaRPr>
          </a:p>
          <a:p>
            <a:r>
              <a:rPr lang="en-US" sz="700" i="1" dirty="0" smtClean="0">
                <a:solidFill>
                  <a:schemeClr val="tx1">
                    <a:lumMod val="50000"/>
                    <a:lumOff val="50000"/>
                  </a:schemeClr>
                </a:solidFill>
              </a:rPr>
              <a:t>**</a:t>
            </a:r>
            <a:r>
              <a:rPr lang="pt-BR" sz="700" i="1" dirty="0">
                <a:solidFill>
                  <a:schemeClr val="tx1">
                    <a:lumMod val="50000"/>
                    <a:lumOff val="50000"/>
                  </a:schemeClr>
                </a:solidFill>
              </a:rPr>
              <a:t>70% do desperdício vem de serviços de alimentação, varejo e residências - os 30% restantes do desperdício de alimentos ocorrem nas esferas de produção e processamento.</a:t>
            </a:r>
            <a:endParaRPr lang="en-US" sz="700" i="1" dirty="0">
              <a:solidFill>
                <a:schemeClr val="tx1">
                  <a:lumMod val="50000"/>
                  <a:lumOff val="50000"/>
                </a:schemeClr>
              </a:solidFill>
            </a:endParaRPr>
          </a:p>
        </p:txBody>
      </p:sp>
      <p:sp>
        <p:nvSpPr>
          <p:cNvPr id="36" name="Rectangle 35"/>
          <p:cNvSpPr/>
          <p:nvPr/>
        </p:nvSpPr>
        <p:spPr>
          <a:xfrm>
            <a:off x="375524" y="4734090"/>
            <a:ext cx="2576667" cy="346249"/>
          </a:xfrm>
          <a:prstGeom prst="rect">
            <a:avLst/>
          </a:prstGeom>
        </p:spPr>
        <p:txBody>
          <a:bodyPr wrap="none" lIns="68580" tIns="34290" rIns="68580" bIns="34290">
            <a:spAutoFit/>
          </a:bodyPr>
          <a:lstStyle/>
          <a:p>
            <a:r>
              <a:rPr lang="en-US" sz="600" u="sng" dirty="0" err="1" smtClean="0">
                <a:solidFill>
                  <a:schemeClr val="tx1">
                    <a:lumMod val="50000"/>
                    <a:lumOff val="50000"/>
                  </a:schemeClr>
                </a:solidFill>
              </a:rPr>
              <a:t>Fontes</a:t>
            </a:r>
            <a:r>
              <a:rPr lang="en-US" sz="600" dirty="0">
                <a:solidFill>
                  <a:schemeClr val="tx1">
                    <a:lumMod val="50000"/>
                    <a:lumOff val="50000"/>
                  </a:schemeClr>
                </a:solidFill>
              </a:rPr>
              <a:t>: datatopics.worldbank.org – Data 2018 – most recent available </a:t>
            </a:r>
            <a:endParaRPr lang="en-US" sz="600" dirty="0">
              <a:solidFill>
                <a:schemeClr val="tx1">
                  <a:lumMod val="50000"/>
                  <a:lumOff val="50000"/>
                </a:schemeClr>
              </a:solidFill>
            </a:endParaRPr>
          </a:p>
          <a:p>
            <a:r>
              <a:rPr lang="en-US" sz="600" dirty="0">
                <a:solidFill>
                  <a:schemeClr val="tx1">
                    <a:lumMod val="50000"/>
                    <a:lumOff val="50000"/>
                  </a:schemeClr>
                </a:solidFill>
              </a:rPr>
              <a:t>UN Food and Agriculture Organization (FAO)</a:t>
            </a:r>
            <a:endParaRPr lang="en-US" sz="600" dirty="0">
              <a:solidFill>
                <a:schemeClr val="tx1">
                  <a:lumMod val="50000"/>
                  <a:lumOff val="50000"/>
                </a:schemeClr>
              </a:solidFill>
            </a:endParaRPr>
          </a:p>
          <a:p>
            <a:r>
              <a:rPr lang="en-US" sz="600" dirty="0">
                <a:solidFill>
                  <a:schemeClr val="tx1">
                    <a:lumMod val="50000"/>
                    <a:lumOff val="50000"/>
                  </a:schemeClr>
                </a:solidFill>
              </a:rPr>
              <a:t>eu-fusions.org</a:t>
            </a:r>
            <a:endParaRPr lang="en-US" sz="600" dirty="0">
              <a:solidFill>
                <a:schemeClr val="tx1">
                  <a:lumMod val="50000"/>
                  <a:lumOff val="50000"/>
                </a:schemeClr>
              </a:solidFill>
            </a:endParaRPr>
          </a:p>
        </p:txBody>
      </p:sp>
      <p:pic>
        <p:nvPicPr>
          <p:cNvPr id="2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6296" y="-1590"/>
            <a:ext cx="1907703" cy="1061172"/>
          </a:xfrm>
          <a:prstGeom prst="rect">
            <a:avLst/>
          </a:prstGeom>
          <a:noFill/>
          <a:ln w="9525">
            <a:noFill/>
            <a:miter lim="800000"/>
            <a:headEnd/>
            <a:tailEnd/>
          </a:ln>
          <a:effectLst/>
        </p:spPr>
      </p:pic>
    </p:spTree>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457200" y="1159497"/>
            <a:ext cx="2916000" cy="345021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auto" hangingPunct="0">
              <a:spcBef>
                <a:spcPts val="0"/>
              </a:spcBef>
              <a:spcAft>
                <a:spcPts val="0"/>
              </a:spcAft>
              <a:defRPr/>
            </a:pPr>
            <a:endParaRPr lang="en-US">
              <a:solidFill>
                <a:prstClr val="white"/>
              </a:solidFill>
            </a:endParaRPr>
          </a:p>
        </p:txBody>
      </p:sp>
      <p:pic>
        <p:nvPicPr>
          <p:cNvPr id="4" name="Picture 2"/>
          <p:cNvPicPr>
            <a:picLocks noChangeAspect="1" noChangeArrowheads="1"/>
          </p:cNvPicPr>
          <p:nvPr/>
        </p:nvPicPr>
        <p:blipFill rotWithShape="1">
          <a:blip r:embed="rId1"/>
          <a:srcRect l="234" r="266"/>
          <a:stretch>
            <a:fillRect/>
          </a:stretch>
        </p:blipFill>
        <p:spPr bwMode="auto">
          <a:xfrm>
            <a:off x="2914972" y="1450063"/>
            <a:ext cx="5685138" cy="2807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a:xfrm>
            <a:off x="536971" y="1194664"/>
            <a:ext cx="2369820" cy="3268587"/>
          </a:xfrm>
          <a:prstGeom prst="rect">
            <a:avLst/>
          </a:prstGeom>
        </p:spPr>
        <p:txBody>
          <a:bodyPr wrap="square">
            <a:spAutoFit/>
          </a:bodyPr>
          <a:lstStyle/>
          <a:p>
            <a:pPr algn="ctr">
              <a:lnSpc>
                <a:spcPct val="120000"/>
              </a:lnSpc>
            </a:pPr>
            <a:r>
              <a:rPr lang="en-US" sz="1400" b="1" dirty="0" smtClean="0">
                <a:latin typeface="Arial" panose="020B0604020202020204" pitchFamily="34" charset="0"/>
              </a:rPr>
              <a:t>METAS DE DESENVOLVIMENTO SUSTENTÁVEL</a:t>
            </a:r>
            <a:endParaRPr lang="en-US" sz="1400" b="1" dirty="0" smtClean="0">
              <a:latin typeface="Arial" panose="020B0604020202020204" pitchFamily="34" charset="0"/>
            </a:endParaRPr>
          </a:p>
          <a:p>
            <a:pPr algn="ctr">
              <a:lnSpc>
                <a:spcPct val="120000"/>
              </a:lnSpc>
            </a:pPr>
            <a:r>
              <a:rPr lang="en-US" sz="1000" dirty="0"/>
              <a:t> </a:t>
            </a:r>
            <a:r>
              <a:rPr lang="en-US" sz="1000" dirty="0" err="1" smtClean="0"/>
              <a:t>são</a:t>
            </a:r>
            <a:r>
              <a:rPr lang="en-US" sz="1000" dirty="0" smtClean="0"/>
              <a:t> um </a:t>
            </a:r>
            <a:r>
              <a:rPr lang="en-US" sz="1000" dirty="0" err="1" smtClean="0"/>
              <a:t>conjunto</a:t>
            </a:r>
            <a:r>
              <a:rPr lang="en-US" sz="1000" dirty="0" smtClean="0"/>
              <a:t> de 17 </a:t>
            </a:r>
            <a:r>
              <a:rPr lang="en-US" sz="1000" dirty="0" err="1" smtClean="0"/>
              <a:t>metas</a:t>
            </a:r>
            <a:r>
              <a:rPr lang="en-US" sz="1000" dirty="0" smtClean="0"/>
              <a:t> </a:t>
            </a:r>
            <a:r>
              <a:rPr lang="en-US" sz="1000" dirty="0" err="1" smtClean="0"/>
              <a:t>globais</a:t>
            </a:r>
            <a:r>
              <a:rPr lang="en-US" sz="1000" dirty="0" smtClean="0"/>
              <a:t> </a:t>
            </a:r>
            <a:r>
              <a:rPr lang="en-US" sz="1000" dirty="0" err="1" smtClean="0"/>
              <a:t>estabelecidas</a:t>
            </a:r>
            <a:r>
              <a:rPr lang="en-US" sz="1000" dirty="0" smtClean="0"/>
              <a:t> </a:t>
            </a:r>
            <a:r>
              <a:rPr lang="en-US" sz="1000" dirty="0" err="1" smtClean="0"/>
              <a:t>pela</a:t>
            </a:r>
            <a:r>
              <a:rPr lang="en-US" sz="1000" dirty="0" smtClean="0"/>
              <a:t> Assembleia </a:t>
            </a:r>
            <a:r>
              <a:rPr lang="en-US" sz="1000" dirty="0" err="1" smtClean="0"/>
              <a:t>Geral</a:t>
            </a:r>
            <a:r>
              <a:rPr lang="en-US" sz="1000" dirty="0" smtClean="0"/>
              <a:t> das </a:t>
            </a:r>
            <a:r>
              <a:rPr lang="en-US" sz="1000" dirty="0" err="1" smtClean="0"/>
              <a:t>Nações</a:t>
            </a:r>
            <a:r>
              <a:rPr lang="en-US" sz="1000" dirty="0" smtClean="0"/>
              <a:t> </a:t>
            </a:r>
            <a:r>
              <a:rPr lang="en-US" sz="1000" dirty="0" err="1" smtClean="0"/>
              <a:t>Unidas</a:t>
            </a:r>
            <a:r>
              <a:rPr lang="en-US" sz="1000" dirty="0" smtClean="0"/>
              <a:t> </a:t>
            </a:r>
            <a:r>
              <a:rPr lang="en-US" sz="1000" dirty="0" err="1" smtClean="0"/>
              <a:t>em</a:t>
            </a:r>
            <a:r>
              <a:rPr lang="en-US" sz="1000" dirty="0" smtClean="0"/>
              <a:t> 2015 </a:t>
            </a:r>
            <a:r>
              <a:rPr lang="en-US" sz="1000" dirty="0" err="1" smtClean="0"/>
              <a:t>para</a:t>
            </a:r>
            <a:r>
              <a:rPr lang="en-US" sz="1000" dirty="0" smtClean="0"/>
              <a:t> o </a:t>
            </a:r>
            <a:r>
              <a:rPr lang="en-US" sz="1000" dirty="0" err="1" smtClean="0"/>
              <a:t>ano</a:t>
            </a:r>
            <a:r>
              <a:rPr lang="en-US" sz="1000" dirty="0" smtClean="0"/>
              <a:t> de </a:t>
            </a:r>
            <a:r>
              <a:rPr lang="en-US" sz="1000" b="1" dirty="0" smtClean="0"/>
              <a:t>2030</a:t>
            </a:r>
            <a:r>
              <a:rPr lang="en-US" sz="1000" dirty="0" smtClean="0"/>
              <a:t>. As </a:t>
            </a:r>
            <a:r>
              <a:rPr lang="en-US" sz="1000" dirty="0" err="1" smtClean="0"/>
              <a:t>metas</a:t>
            </a:r>
            <a:r>
              <a:rPr lang="en-US" sz="1000" dirty="0" smtClean="0"/>
              <a:t> </a:t>
            </a:r>
            <a:r>
              <a:rPr lang="en-US" sz="1000" dirty="0" err="1" smtClean="0"/>
              <a:t>forneceram</a:t>
            </a:r>
            <a:r>
              <a:rPr lang="en-US" sz="1000" dirty="0" smtClean="0"/>
              <a:t> </a:t>
            </a:r>
            <a:r>
              <a:rPr lang="en-US" sz="1000" dirty="0" err="1" smtClean="0"/>
              <a:t>uma</a:t>
            </a:r>
            <a:r>
              <a:rPr lang="en-US" sz="1000" dirty="0" smtClean="0"/>
              <a:t> agenda </a:t>
            </a:r>
            <a:r>
              <a:rPr lang="en-US" sz="1000" dirty="0" err="1" smtClean="0"/>
              <a:t>para</a:t>
            </a:r>
            <a:r>
              <a:rPr lang="en-US" sz="1000" dirty="0" smtClean="0"/>
              <a:t> o </a:t>
            </a:r>
            <a:r>
              <a:rPr lang="en-US" sz="1000" dirty="0" err="1" smtClean="0"/>
              <a:t>futuro</a:t>
            </a:r>
            <a:r>
              <a:rPr lang="en-US" sz="1000" dirty="0" smtClean="0"/>
              <a:t> </a:t>
            </a:r>
            <a:r>
              <a:rPr lang="en-US" sz="1000" dirty="0" err="1" smtClean="0"/>
              <a:t>melhor</a:t>
            </a:r>
            <a:r>
              <a:rPr lang="en-US" sz="1000" dirty="0" smtClean="0"/>
              <a:t> </a:t>
            </a:r>
            <a:r>
              <a:rPr lang="en-US" sz="1000" dirty="0" err="1" smtClean="0"/>
              <a:t>para</a:t>
            </a:r>
            <a:r>
              <a:rPr lang="en-US" sz="1000" dirty="0" smtClean="0"/>
              <a:t> as </a:t>
            </a:r>
            <a:r>
              <a:rPr lang="en-US" sz="1000" dirty="0" err="1" smtClean="0"/>
              <a:t>pessoas</a:t>
            </a:r>
            <a:r>
              <a:rPr lang="en-US" sz="1000" dirty="0" smtClean="0"/>
              <a:t> e </a:t>
            </a:r>
            <a:r>
              <a:rPr lang="en-US" sz="1000" dirty="0" err="1" smtClean="0"/>
              <a:t>nosso</a:t>
            </a:r>
            <a:r>
              <a:rPr lang="en-US" sz="1000" dirty="0" smtClean="0"/>
              <a:t> </a:t>
            </a:r>
            <a:r>
              <a:rPr lang="en-US" sz="1000" dirty="0" err="1" smtClean="0"/>
              <a:t>planeta</a:t>
            </a:r>
            <a:r>
              <a:rPr lang="en-US" sz="1000" b="1" dirty="0" smtClean="0"/>
              <a:t>. </a:t>
            </a:r>
            <a:endParaRPr lang="en-US" sz="1000" b="1" dirty="0" smtClean="0"/>
          </a:p>
          <a:p>
            <a:pPr algn="ctr">
              <a:lnSpc>
                <a:spcPct val="120000"/>
              </a:lnSpc>
            </a:pPr>
            <a:endParaRPr lang="en-US" sz="1000" b="1" dirty="0" smtClean="0"/>
          </a:p>
          <a:p>
            <a:pPr algn="ctr">
              <a:lnSpc>
                <a:spcPct val="120000"/>
              </a:lnSpc>
            </a:pPr>
            <a:r>
              <a:rPr lang="en-US" sz="1000" dirty="0" err="1" smtClean="0">
                <a:latin typeface="Arial" panose="020B0604020202020204" pitchFamily="34" charset="0"/>
              </a:rPr>
              <a:t>Esta</a:t>
            </a:r>
            <a:r>
              <a:rPr lang="en-US" sz="1000" dirty="0" smtClean="0">
                <a:latin typeface="Arial" panose="020B0604020202020204" pitchFamily="34" charset="0"/>
              </a:rPr>
              <a:t> é </a:t>
            </a:r>
            <a:r>
              <a:rPr lang="en-US" sz="1000" dirty="0" err="1" smtClean="0">
                <a:latin typeface="Arial" panose="020B0604020202020204" pitchFamily="34" charset="0"/>
              </a:rPr>
              <a:t>uma</a:t>
            </a:r>
            <a:r>
              <a:rPr lang="en-US" sz="1000" dirty="0" smtClean="0">
                <a:latin typeface="Arial" panose="020B0604020202020204" pitchFamily="34" charset="0"/>
              </a:rPr>
              <a:t> </a:t>
            </a:r>
            <a:r>
              <a:rPr lang="en-US" sz="1000" b="1" dirty="0" err="1" smtClean="0">
                <a:latin typeface="Arial" panose="020B0604020202020204" pitchFamily="34" charset="0"/>
              </a:rPr>
              <a:t>parceria</a:t>
            </a:r>
            <a:r>
              <a:rPr lang="en-US" sz="1000" b="1" dirty="0" smtClean="0">
                <a:latin typeface="Arial" panose="020B0604020202020204" pitchFamily="34" charset="0"/>
              </a:rPr>
              <a:t> global </a:t>
            </a:r>
            <a:r>
              <a:rPr lang="en-US" sz="1000" dirty="0" err="1" smtClean="0">
                <a:latin typeface="Arial" panose="020B0604020202020204" pitchFamily="34" charset="0"/>
              </a:rPr>
              <a:t>que</a:t>
            </a:r>
            <a:r>
              <a:rPr lang="en-US" sz="1000" dirty="0" smtClean="0">
                <a:latin typeface="Arial" panose="020B0604020202020204" pitchFamily="34" charset="0"/>
              </a:rPr>
              <a:t> </a:t>
            </a:r>
            <a:r>
              <a:rPr lang="en-US" sz="1000" dirty="0" err="1" smtClean="0">
                <a:latin typeface="Arial" panose="020B0604020202020204" pitchFamily="34" charset="0"/>
              </a:rPr>
              <a:t>reconhece</a:t>
            </a:r>
            <a:r>
              <a:rPr lang="en-US" sz="1000" dirty="0" smtClean="0">
                <a:latin typeface="Arial" panose="020B0604020202020204" pitchFamily="34" charset="0"/>
              </a:rPr>
              <a:t> </a:t>
            </a:r>
            <a:r>
              <a:rPr lang="en-US" sz="1000" dirty="0" err="1" smtClean="0">
                <a:latin typeface="Arial" panose="020B0604020202020204" pitchFamily="34" charset="0"/>
              </a:rPr>
              <a:t>que</a:t>
            </a:r>
            <a:r>
              <a:rPr lang="en-US" sz="1000" dirty="0" smtClean="0">
                <a:latin typeface="Arial" panose="020B0604020202020204" pitchFamily="34" charset="0"/>
              </a:rPr>
              <a:t> a </a:t>
            </a:r>
            <a:r>
              <a:rPr lang="en-US" sz="1000" b="1" dirty="0" err="1" smtClean="0">
                <a:latin typeface="Arial" panose="020B0604020202020204" pitchFamily="34" charset="0"/>
              </a:rPr>
              <a:t>erradicação</a:t>
            </a:r>
            <a:r>
              <a:rPr lang="en-US" sz="1000" b="1" dirty="0" smtClean="0">
                <a:latin typeface="Arial" panose="020B0604020202020204" pitchFamily="34" charset="0"/>
              </a:rPr>
              <a:t> da </a:t>
            </a:r>
            <a:r>
              <a:rPr lang="en-US" sz="1000" b="1" dirty="0" err="1" smtClean="0">
                <a:latin typeface="Arial" panose="020B0604020202020204" pitchFamily="34" charset="0"/>
              </a:rPr>
              <a:t>pobreza</a:t>
            </a:r>
            <a:r>
              <a:rPr lang="en-US" sz="1000" b="1" dirty="0" smtClean="0">
                <a:latin typeface="Arial" panose="020B0604020202020204" pitchFamily="34" charset="0"/>
              </a:rPr>
              <a:t>, </a:t>
            </a:r>
            <a:r>
              <a:rPr lang="en-US" sz="1000" b="1" dirty="0" err="1" smtClean="0">
                <a:latin typeface="Arial" panose="020B0604020202020204" pitchFamily="34" charset="0"/>
              </a:rPr>
              <a:t>fome</a:t>
            </a:r>
            <a:r>
              <a:rPr lang="en-US" sz="1000" b="1" dirty="0" smtClean="0">
                <a:latin typeface="Arial" panose="020B0604020202020204" pitchFamily="34" charset="0"/>
              </a:rPr>
              <a:t>  e o </a:t>
            </a:r>
            <a:r>
              <a:rPr lang="en-US" sz="1000" b="1" dirty="0" err="1" smtClean="0">
                <a:latin typeface="Arial" panose="020B0604020202020204" pitchFamily="34" charset="0"/>
              </a:rPr>
              <a:t>desenvolvimento</a:t>
            </a:r>
            <a:r>
              <a:rPr lang="en-US" sz="1000" b="1" dirty="0" smtClean="0">
                <a:latin typeface="Arial" panose="020B0604020202020204" pitchFamily="34" charset="0"/>
              </a:rPr>
              <a:t> dos </a:t>
            </a:r>
            <a:r>
              <a:rPr lang="en-US" sz="1000" b="1" dirty="0" err="1" smtClean="0">
                <a:latin typeface="Arial" panose="020B0604020202020204" pitchFamily="34" charset="0"/>
              </a:rPr>
              <a:t>países</a:t>
            </a:r>
            <a:r>
              <a:rPr lang="en-US" sz="1000" b="1" dirty="0" smtClean="0">
                <a:latin typeface="Arial" panose="020B0604020202020204" pitchFamily="34" charset="0"/>
              </a:rPr>
              <a:t> </a:t>
            </a:r>
            <a:r>
              <a:rPr lang="en-US" sz="1000" b="1" dirty="0" err="1" smtClean="0">
                <a:latin typeface="Arial" panose="020B0604020202020204" pitchFamily="34" charset="0"/>
              </a:rPr>
              <a:t>andam</a:t>
            </a:r>
            <a:r>
              <a:rPr lang="en-US" sz="1000" b="1" dirty="0" smtClean="0">
                <a:latin typeface="Arial" panose="020B0604020202020204" pitchFamily="34" charset="0"/>
              </a:rPr>
              <a:t> de </a:t>
            </a:r>
            <a:r>
              <a:rPr lang="en-US" sz="1000" b="1" dirty="0" err="1" smtClean="0">
                <a:latin typeface="Arial" panose="020B0604020202020204" pitchFamily="34" charset="0"/>
              </a:rPr>
              <a:t>mãos</a:t>
            </a:r>
            <a:r>
              <a:rPr lang="en-US" sz="1000" b="1" dirty="0" smtClean="0">
                <a:latin typeface="Arial" panose="020B0604020202020204" pitchFamily="34" charset="0"/>
              </a:rPr>
              <a:t> </a:t>
            </a:r>
            <a:r>
              <a:rPr lang="en-US" sz="1000" b="1" dirty="0" err="1" smtClean="0">
                <a:latin typeface="Arial" panose="020B0604020202020204" pitchFamily="34" charset="0"/>
              </a:rPr>
              <a:t>dadas</a:t>
            </a:r>
            <a:r>
              <a:rPr lang="en-US" sz="1000" b="1" dirty="0" smtClean="0">
                <a:latin typeface="Arial" panose="020B0604020202020204" pitchFamily="34" charset="0"/>
              </a:rPr>
              <a:t> com o </a:t>
            </a:r>
            <a:r>
              <a:rPr lang="en-US" sz="1000" b="1" dirty="0" err="1" smtClean="0">
                <a:latin typeface="Arial" panose="020B0604020202020204" pitchFamily="34" charset="0"/>
              </a:rPr>
              <a:t>combate</a:t>
            </a:r>
            <a:r>
              <a:rPr lang="en-US" sz="1000" b="1" dirty="0" smtClean="0">
                <a:latin typeface="Arial" panose="020B0604020202020204" pitchFamily="34" charset="0"/>
              </a:rPr>
              <a:t> </a:t>
            </a:r>
            <a:r>
              <a:rPr lang="en-US" sz="1000" b="1" dirty="0" err="1" smtClean="0">
                <a:latin typeface="Arial" panose="020B0604020202020204" pitchFamily="34" charset="0"/>
              </a:rPr>
              <a:t>às</a:t>
            </a:r>
            <a:r>
              <a:rPr lang="en-US" sz="1000" b="1" dirty="0" smtClean="0">
                <a:latin typeface="Arial" panose="020B0604020202020204" pitchFamily="34" charset="0"/>
              </a:rPr>
              <a:t> </a:t>
            </a:r>
            <a:r>
              <a:rPr lang="en-US" sz="1000" b="1" dirty="0" err="1" smtClean="0">
                <a:latin typeface="Arial" panose="020B0604020202020204" pitchFamily="34" charset="0"/>
              </a:rPr>
              <a:t>mudanças</a:t>
            </a:r>
            <a:r>
              <a:rPr lang="en-US" sz="1000" b="1" dirty="0" smtClean="0">
                <a:latin typeface="Arial" panose="020B0604020202020204" pitchFamily="34" charset="0"/>
              </a:rPr>
              <a:t> </a:t>
            </a:r>
            <a:r>
              <a:rPr lang="en-US" sz="1000" b="1" dirty="0" err="1" smtClean="0">
                <a:latin typeface="Arial" panose="020B0604020202020204" pitchFamily="34" charset="0"/>
              </a:rPr>
              <a:t>globais</a:t>
            </a:r>
            <a:r>
              <a:rPr lang="en-US" sz="1000" b="1" dirty="0">
                <a:latin typeface="Arial" panose="020B0604020202020204" pitchFamily="34" charset="0"/>
              </a:rPr>
              <a:t>.</a:t>
            </a:r>
            <a:endParaRPr lang="fr-FR" sz="1050" b="1" dirty="0">
              <a:latin typeface="Arial" panose="020B0604020202020204" pitchFamily="34" charset="0"/>
            </a:endParaRPr>
          </a:p>
        </p:txBody>
      </p:sp>
      <p:sp>
        <p:nvSpPr>
          <p:cNvPr id="15" name="Espace réservé du numéro de diapositive 3"/>
          <p:cNvSpPr txBox="1"/>
          <p:nvPr/>
        </p:nvSpPr>
        <p:spPr>
          <a:xfrm>
            <a:off x="6900863" y="4890988"/>
            <a:ext cx="2057400" cy="273050"/>
          </a:xfrm>
          <a:prstGeom prst="rect">
            <a:avLst/>
          </a:prstGeom>
        </p:spPr>
        <p:txBody>
          <a:bodyPr/>
          <a:lstStyle>
            <a:defPPr>
              <a:defRPr lang="pt-BR"/>
            </a:defPPr>
            <a:lvl1pPr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lgn="r">
              <a:defRPr/>
            </a:pPr>
            <a:fld id="{9FAFCEB4-50DF-41A7-82D9-EE3D77AABA92}" type="slidenum">
              <a:rPr lang="fr-FR" sz="900" smtClean="0">
                <a:latin typeface="Arial" panose="020B0604020202020204" pitchFamily="34" charset="0"/>
              </a:rPr>
            </a:fld>
            <a:endParaRPr lang="fr-FR" sz="900">
              <a:latin typeface="Arial" panose="020B0604020202020204" pitchFamily="34" charset="0"/>
            </a:endParaRPr>
          </a:p>
        </p:txBody>
      </p:sp>
      <p:sp>
        <p:nvSpPr>
          <p:cNvPr id="22" name="Titre 1"/>
          <p:cNvSpPr>
            <a:spLocks noGrp="1"/>
          </p:cNvSpPr>
          <p:nvPr>
            <p:ph type="title"/>
          </p:nvPr>
        </p:nvSpPr>
        <p:spPr>
          <a:xfrm>
            <a:off x="457200" y="488950"/>
            <a:ext cx="5808663" cy="166688"/>
          </a:xfrm>
        </p:spPr>
        <p:txBody>
          <a:bodyPr/>
          <a:lstStyle/>
          <a:p>
            <a:r>
              <a:rPr lang="de-DE" sz="2000" dirty="0" smtClean="0"/>
              <a:t>Sustentabilidade </a:t>
            </a:r>
            <a:endParaRPr lang="fr-FR" sz="2000" dirty="0"/>
          </a:p>
        </p:txBody>
      </p:sp>
      <p:sp>
        <p:nvSpPr>
          <p:cNvPr id="24" name="Sous-titre 3"/>
          <p:cNvSpPr>
            <a:spLocks noGrp="1"/>
          </p:cNvSpPr>
          <p:nvPr>
            <p:ph type="subTitle" idx="1"/>
          </p:nvPr>
        </p:nvSpPr>
        <p:spPr>
          <a:xfrm>
            <a:off x="457201" y="693901"/>
            <a:ext cx="6697743" cy="220499"/>
          </a:xfrm>
        </p:spPr>
        <p:txBody>
          <a:bodyPr/>
          <a:lstStyle/>
          <a:p>
            <a:r>
              <a:rPr lang="fr-FR" dirty="0" smtClean="0">
                <a:solidFill>
                  <a:srgbClr val="FF0066"/>
                </a:solidFill>
              </a:rPr>
              <a:t>A nova norma</a:t>
            </a:r>
            <a:endParaRPr lang="fr-FR" b="1" dirty="0">
              <a:solidFill>
                <a:srgbClr val="FF0066"/>
              </a:solidFill>
            </a:endParaRPr>
          </a:p>
        </p:txBody>
      </p:sp>
      <p:sp>
        <p:nvSpPr>
          <p:cNvPr id="3" name="Retângulo 2"/>
          <p:cNvSpPr/>
          <p:nvPr/>
        </p:nvSpPr>
        <p:spPr>
          <a:xfrm>
            <a:off x="5737391" y="1447766"/>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tângulo 9"/>
          <p:cNvSpPr/>
          <p:nvPr/>
        </p:nvSpPr>
        <p:spPr>
          <a:xfrm>
            <a:off x="4762694" y="2385817"/>
            <a:ext cx="974697"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10"/>
          <p:cNvSpPr/>
          <p:nvPr/>
        </p:nvSpPr>
        <p:spPr>
          <a:xfrm>
            <a:off x="3808143" y="2385817"/>
            <a:ext cx="95454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11"/>
          <p:cNvSpPr/>
          <p:nvPr/>
        </p:nvSpPr>
        <p:spPr>
          <a:xfrm>
            <a:off x="6712090" y="3322887"/>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tângulo 12"/>
          <p:cNvSpPr/>
          <p:nvPr/>
        </p:nvSpPr>
        <p:spPr>
          <a:xfrm>
            <a:off x="6712089" y="2386783"/>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tângulo 13"/>
          <p:cNvSpPr/>
          <p:nvPr/>
        </p:nvSpPr>
        <p:spPr>
          <a:xfrm>
            <a:off x="3808143" y="1450679"/>
            <a:ext cx="954550"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tângulo 15"/>
          <p:cNvSpPr/>
          <p:nvPr/>
        </p:nvSpPr>
        <p:spPr>
          <a:xfrm>
            <a:off x="6712090" y="1447766"/>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tângulo 16"/>
          <p:cNvSpPr/>
          <p:nvPr/>
        </p:nvSpPr>
        <p:spPr>
          <a:xfrm>
            <a:off x="4762692" y="1450679"/>
            <a:ext cx="974699"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tângulo 19"/>
          <p:cNvSpPr/>
          <p:nvPr/>
        </p:nvSpPr>
        <p:spPr>
          <a:xfrm>
            <a:off x="2853593" y="1450679"/>
            <a:ext cx="954550" cy="936104"/>
          </a:xfrm>
          <a:prstGeom prst="rect">
            <a:avLst/>
          </a:prstGeom>
          <a:noFill/>
          <a:ln>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137815" y="1109556"/>
            <a:ext cx="3741703" cy="1533405"/>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prstClr val="black"/>
              </a:solidFill>
            </a:endParaRPr>
          </a:p>
        </p:txBody>
      </p:sp>
      <p:sp>
        <p:nvSpPr>
          <p:cNvPr id="14" name="Rectangle 13"/>
          <p:cNvSpPr/>
          <p:nvPr/>
        </p:nvSpPr>
        <p:spPr>
          <a:xfrm>
            <a:off x="6724620" y="2696394"/>
            <a:ext cx="2153780" cy="1955171"/>
          </a:xfrm>
          <a:prstGeom prst="rect">
            <a:avLst/>
          </a:prstGeom>
          <a:solidFill>
            <a:srgbClr val="B0D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prstClr val="black"/>
              </a:solidFill>
            </a:endParaRPr>
          </a:p>
        </p:txBody>
      </p:sp>
      <p:sp>
        <p:nvSpPr>
          <p:cNvPr id="37" name="Rectangle 36"/>
          <p:cNvSpPr/>
          <p:nvPr/>
        </p:nvSpPr>
        <p:spPr>
          <a:xfrm>
            <a:off x="1988696" y="1109557"/>
            <a:ext cx="3094980" cy="1533404"/>
          </a:xfrm>
          <a:prstGeom prst="rect">
            <a:avLst/>
          </a:prstGeom>
          <a:solidFill>
            <a:srgbClr val="68C0B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pPr>
            <a:r>
              <a:rPr lang="pt-BR" sz="1200" spc="300" dirty="0">
                <a:solidFill>
                  <a:prstClr val="black"/>
                </a:solidFill>
                <a:latin typeface="Arial" panose="020B0604020202020204" pitchFamily="34" charset="0"/>
                <a:cs typeface="Arial" panose="020B0604020202020204" pitchFamily="34" charset="0"/>
              </a:rPr>
              <a:t>OS CONSUMIDORES SÃO</a:t>
            </a:r>
            <a:endParaRPr lang="pt-BR" sz="1200" spc="300" dirty="0">
              <a:solidFill>
                <a:prstClr val="black"/>
              </a:solidFill>
              <a:latin typeface="Arial" panose="020B0604020202020204" pitchFamily="34" charset="0"/>
              <a:cs typeface="Arial" panose="020B0604020202020204" pitchFamily="34" charset="0"/>
            </a:endParaRPr>
          </a:p>
          <a:p>
            <a:pPr algn="ctr">
              <a:lnSpc>
                <a:spcPct val="150000"/>
              </a:lnSpc>
            </a:pPr>
            <a:r>
              <a:rPr lang="pt-BR" sz="1200" b="1" spc="300" dirty="0">
                <a:solidFill>
                  <a:prstClr val="black"/>
                </a:solidFill>
                <a:latin typeface="Arial" panose="020B0604020202020204" pitchFamily="34" charset="0"/>
                <a:cs typeface="Arial" panose="020B0604020202020204" pitchFamily="34" charset="0"/>
              </a:rPr>
              <a:t>FORTALECIDO</a:t>
            </a:r>
            <a:endParaRPr lang="pt-BR" sz="1200" b="1" spc="300" dirty="0">
              <a:solidFill>
                <a:prstClr val="black"/>
              </a:solidFill>
              <a:latin typeface="Arial" panose="020B0604020202020204" pitchFamily="34" charset="0"/>
              <a:cs typeface="Arial" panose="020B0604020202020204" pitchFamily="34" charset="0"/>
            </a:endParaRPr>
          </a:p>
          <a:p>
            <a:pPr algn="ctr">
              <a:lnSpc>
                <a:spcPct val="150000"/>
              </a:lnSpc>
            </a:pPr>
            <a:r>
              <a:rPr lang="pt-BR" sz="1200" b="1" spc="300" dirty="0">
                <a:solidFill>
                  <a:prstClr val="black"/>
                </a:solidFill>
                <a:latin typeface="Arial" panose="020B0604020202020204" pitchFamily="34" charset="0"/>
                <a:cs typeface="Arial" panose="020B0604020202020204" pitchFamily="34" charset="0"/>
              </a:rPr>
              <a:t>PARA FAZER A DIFERENÇA </a:t>
            </a:r>
            <a:r>
              <a:rPr lang="pt-BR" sz="1200" spc="300" dirty="0">
                <a:solidFill>
                  <a:prstClr val="black"/>
                </a:solidFill>
                <a:latin typeface="Arial" panose="020B0604020202020204" pitchFamily="34" charset="0"/>
                <a:cs typeface="Arial" panose="020B0604020202020204" pitchFamily="34" charset="0"/>
              </a:rPr>
              <a:t>EM RELAÇÃO</a:t>
            </a:r>
            <a:endParaRPr lang="pt-BR" sz="1200" spc="300" dirty="0">
              <a:solidFill>
                <a:prstClr val="black"/>
              </a:solidFill>
              <a:latin typeface="Arial" panose="020B0604020202020204" pitchFamily="34" charset="0"/>
              <a:cs typeface="Arial" panose="020B0604020202020204" pitchFamily="34" charset="0"/>
            </a:endParaRPr>
          </a:p>
          <a:p>
            <a:pPr algn="ctr">
              <a:lnSpc>
                <a:spcPct val="150000"/>
              </a:lnSpc>
            </a:pPr>
            <a:r>
              <a:rPr lang="pt-BR" sz="1200" b="1" spc="300" dirty="0">
                <a:solidFill>
                  <a:prstClr val="black"/>
                </a:solidFill>
                <a:latin typeface="Arial" panose="020B0604020202020204" pitchFamily="34" charset="0"/>
                <a:cs typeface="Arial" panose="020B0604020202020204" pitchFamily="34" charset="0"/>
              </a:rPr>
              <a:t>O QUE ELES CONSUMEM</a:t>
            </a:r>
            <a:endParaRPr lang="fr-FR" sz="800" b="1" spc="300" dirty="0">
              <a:solidFill>
                <a:prstClr val="black"/>
              </a:solidFill>
              <a:latin typeface="Arial" panose="020B0604020202020204" pitchFamily="34" charset="0"/>
              <a:cs typeface="Arial" panose="020B0604020202020204" pitchFamily="34" charset="0"/>
            </a:endParaRPr>
          </a:p>
        </p:txBody>
      </p:sp>
      <p:sp>
        <p:nvSpPr>
          <p:cNvPr id="21" name="Rectangle 20"/>
          <p:cNvSpPr/>
          <p:nvPr/>
        </p:nvSpPr>
        <p:spPr>
          <a:xfrm>
            <a:off x="180876" y="2695919"/>
            <a:ext cx="2174289" cy="1955171"/>
          </a:xfrm>
          <a:prstGeom prst="rect">
            <a:avLst/>
          </a:prstGeom>
          <a:solidFill>
            <a:srgbClr val="D9E8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prstClr val="black"/>
              </a:solidFill>
            </a:endParaRPr>
          </a:p>
        </p:txBody>
      </p:sp>
      <p:sp>
        <p:nvSpPr>
          <p:cNvPr id="22" name="TextBox 29"/>
          <p:cNvSpPr txBox="1"/>
          <p:nvPr/>
        </p:nvSpPr>
        <p:spPr>
          <a:xfrm>
            <a:off x="179512" y="3121520"/>
            <a:ext cx="2174289" cy="1104918"/>
          </a:xfrm>
          <a:prstGeom prst="rect">
            <a:avLst/>
          </a:prstGeom>
          <a:noFill/>
        </p:spPr>
        <p:txBody>
          <a:bodyPr wrap="square" lIns="0" tIns="0" rIns="0" bIns="0" rtlCol="0">
            <a:spAutoFit/>
          </a:bodyPr>
          <a:lstStyle/>
          <a:p>
            <a:pPr algn="ctr"/>
            <a:r>
              <a:rPr lang="pt-BR" sz="1470" b="1" dirty="0">
                <a:solidFill>
                  <a:prstClr val="black"/>
                </a:solidFill>
                <a:latin typeface="Arial" panose="020B0604020202020204" pitchFamily="34" charset="0"/>
              </a:rPr>
              <a:t>10%</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é o </a:t>
            </a:r>
            <a:r>
              <a:rPr lang="pt-BR" sz="1470" b="1" dirty="0">
                <a:solidFill>
                  <a:prstClr val="black"/>
                </a:solidFill>
                <a:latin typeface="Arial" panose="020B0604020202020204" pitchFamily="34" charset="0"/>
              </a:rPr>
              <a:t>AUMENTO DE PREÇO</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máximo que os CONSUMIDORES</a:t>
            </a:r>
            <a:r>
              <a:rPr lang="pt-BR" sz="1300" b="1" dirty="0">
                <a:solidFill>
                  <a:prstClr val="black"/>
                </a:solidFill>
                <a:latin typeface="Arial" panose="020B0604020202020204" pitchFamily="34" charset="0"/>
              </a:rPr>
              <a:t> </a:t>
            </a:r>
            <a:r>
              <a:rPr lang="pt-BR" sz="1300" dirty="0">
                <a:solidFill>
                  <a:prstClr val="black"/>
                </a:solidFill>
                <a:latin typeface="Arial" panose="020B0604020202020204" pitchFamily="34" charset="0"/>
              </a:rPr>
              <a:t>estão dispostos a </a:t>
            </a:r>
            <a:r>
              <a:rPr lang="pt-BR" sz="1470" b="1" dirty="0">
                <a:solidFill>
                  <a:prstClr val="black"/>
                </a:solidFill>
                <a:latin typeface="Arial" panose="020B0604020202020204" pitchFamily="34" charset="0"/>
              </a:rPr>
              <a:t>PAGAR POR PRODUTOS ÉTICOS</a:t>
            </a:r>
            <a:endParaRPr lang="en-US" sz="1470" b="1" dirty="0">
              <a:solidFill>
                <a:prstClr val="black"/>
              </a:solidFill>
              <a:latin typeface="Arial" panose="020B0604020202020204" pitchFamily="34" charset="0"/>
            </a:endParaRPr>
          </a:p>
        </p:txBody>
      </p:sp>
      <p:sp>
        <p:nvSpPr>
          <p:cNvPr id="24" name="Rectangle 23"/>
          <p:cNvSpPr/>
          <p:nvPr/>
        </p:nvSpPr>
        <p:spPr>
          <a:xfrm>
            <a:off x="179512" y="1109557"/>
            <a:ext cx="1764641" cy="1533404"/>
          </a:xfrm>
          <a:prstGeom prst="rect">
            <a:avLst/>
          </a:prstGeom>
          <a:solidFill>
            <a:srgbClr val="B0D08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pt-BR" sz="1100" dirty="0">
                <a:solidFill>
                  <a:prstClr val="black"/>
                </a:solidFill>
                <a:latin typeface="Arial" panose="020B0604020202020204" pitchFamily="34" charset="0"/>
                <a:cs typeface="Arial" panose="020B0604020202020204" pitchFamily="34" charset="0"/>
              </a:rPr>
              <a:t>MAIS DE </a:t>
            </a:r>
            <a:r>
              <a:rPr lang="pt-BR" sz="2000" b="1" dirty="0">
                <a:solidFill>
                  <a:prstClr val="black"/>
                </a:solidFill>
                <a:latin typeface="Arial" panose="020B0604020202020204" pitchFamily="34" charset="0"/>
                <a:cs typeface="Arial" panose="020B0604020202020204" pitchFamily="34" charset="0"/>
              </a:rPr>
              <a:t>61%</a:t>
            </a:r>
            <a:r>
              <a:rPr lang="pt-BR" sz="1100" dirty="0">
                <a:solidFill>
                  <a:prstClr val="black"/>
                </a:solidFill>
                <a:latin typeface="Arial" panose="020B0604020202020204" pitchFamily="34" charset="0"/>
                <a:cs typeface="Arial" panose="020B0604020202020204" pitchFamily="34" charset="0"/>
              </a:rPr>
              <a:t> DOS CONSUMIDORES ESTÃO PREOCUPADOS COM AS </a:t>
            </a:r>
            <a:r>
              <a:rPr lang="pt-BR" sz="1600" b="1" dirty="0">
                <a:solidFill>
                  <a:prstClr val="black"/>
                </a:solidFill>
                <a:latin typeface="Arial" panose="020B0604020202020204" pitchFamily="34" charset="0"/>
                <a:cs typeface="Arial" panose="020B0604020202020204" pitchFamily="34" charset="0"/>
              </a:rPr>
              <a:t>MUDANÇAS CLIMÁTICAS</a:t>
            </a:r>
            <a:endParaRPr lang="fr-FR" sz="1600" b="1" dirty="0">
              <a:solidFill>
                <a:prstClr val="black"/>
              </a:solidFill>
              <a:latin typeface="Arial" panose="020B0604020202020204" pitchFamily="34" charset="0"/>
              <a:cs typeface="Arial" panose="020B0604020202020204" pitchFamily="34" charset="0"/>
            </a:endParaRPr>
          </a:p>
        </p:txBody>
      </p:sp>
      <p:sp>
        <p:nvSpPr>
          <p:cNvPr id="13" name="Rectangle 12"/>
          <p:cNvSpPr/>
          <p:nvPr/>
        </p:nvSpPr>
        <p:spPr>
          <a:xfrm>
            <a:off x="5276851" y="1397809"/>
            <a:ext cx="3669342" cy="1030154"/>
          </a:xfrm>
          <a:prstGeom prst="rect">
            <a:avLst/>
          </a:prstGeom>
          <a:noFill/>
        </p:spPr>
        <p:txBody>
          <a:bodyPr wrap="square">
            <a:spAutoFit/>
          </a:bodyPr>
          <a:lstStyle/>
          <a:p>
            <a:pPr algn="ctr">
              <a:lnSpc>
                <a:spcPct val="110000"/>
              </a:lnSpc>
            </a:pPr>
            <a:r>
              <a:rPr lang="en-US" sz="1300" dirty="0" smtClean="0">
                <a:solidFill>
                  <a:srgbClr val="000000"/>
                </a:solidFill>
                <a:latin typeface="Arial" panose="020B0604020202020204" pitchFamily="34" charset="0"/>
              </a:rPr>
              <a:t>           </a:t>
            </a:r>
            <a:r>
              <a:rPr lang="pt-BR" sz="1300" dirty="0">
                <a:solidFill>
                  <a:srgbClr val="000000"/>
                </a:solidFill>
                <a:latin typeface="Arial" panose="020B0604020202020204" pitchFamily="34" charset="0"/>
              </a:rPr>
              <a:t>DOS CONSUMIDORES SENTIRAM QUE PODERIAM </a:t>
            </a:r>
            <a:r>
              <a:rPr lang="pt-BR" sz="1470" b="1" dirty="0">
                <a:solidFill>
                  <a:srgbClr val="000000"/>
                </a:solidFill>
                <a:latin typeface="Arial" panose="020B0604020202020204" pitchFamily="34" charset="0"/>
              </a:rPr>
              <a:t>FAZER A DIFERENÇA</a:t>
            </a:r>
            <a:endParaRPr lang="pt-BR" sz="1470" b="1" dirty="0">
              <a:solidFill>
                <a:srgbClr val="000000"/>
              </a:solidFill>
              <a:latin typeface="Arial" panose="020B0604020202020204" pitchFamily="34" charset="0"/>
            </a:endParaRPr>
          </a:p>
          <a:p>
            <a:pPr algn="ctr">
              <a:lnSpc>
                <a:spcPct val="110000"/>
              </a:lnSpc>
            </a:pPr>
            <a:r>
              <a:rPr lang="pt-BR" sz="1470" b="1" dirty="0">
                <a:solidFill>
                  <a:srgbClr val="000000"/>
                </a:solidFill>
                <a:latin typeface="Arial" panose="020B0604020202020204" pitchFamily="34" charset="0"/>
              </a:rPr>
              <a:t>NO MUNDO </a:t>
            </a:r>
            <a:r>
              <a:rPr lang="pt-BR" sz="1300" dirty="0">
                <a:solidFill>
                  <a:srgbClr val="000000"/>
                </a:solidFill>
                <a:latin typeface="Arial" panose="020B0604020202020204" pitchFamily="34" charset="0"/>
              </a:rPr>
              <a:t>COM SUAS </a:t>
            </a:r>
            <a:r>
              <a:rPr lang="pt-BR" sz="1470" b="1" dirty="0">
                <a:solidFill>
                  <a:srgbClr val="000000"/>
                </a:solidFill>
                <a:latin typeface="Arial" panose="020B0604020202020204" pitchFamily="34" charset="0"/>
              </a:rPr>
              <a:t>ESCOLHAS</a:t>
            </a:r>
            <a:endParaRPr lang="pt-BR" sz="1470" b="1" dirty="0">
              <a:solidFill>
                <a:srgbClr val="000000"/>
              </a:solidFill>
              <a:latin typeface="Arial" panose="020B0604020202020204" pitchFamily="34" charset="0"/>
            </a:endParaRPr>
          </a:p>
          <a:p>
            <a:pPr algn="ctr">
              <a:lnSpc>
                <a:spcPct val="110000"/>
              </a:lnSpc>
            </a:pPr>
            <a:r>
              <a:rPr lang="pt-BR" sz="1300" dirty="0">
                <a:solidFill>
                  <a:srgbClr val="000000"/>
                </a:solidFill>
                <a:latin typeface="Arial" panose="020B0604020202020204" pitchFamily="34" charset="0"/>
              </a:rPr>
              <a:t>EM 2017</a:t>
            </a:r>
            <a:endParaRPr lang="pt-BR" sz="1300" dirty="0">
              <a:latin typeface="Arial" panose="020B0604020202020204" pitchFamily="34" charset="0"/>
            </a:endParaRPr>
          </a:p>
        </p:txBody>
      </p:sp>
      <p:sp>
        <p:nvSpPr>
          <p:cNvPr id="2" name="Rectangle 1"/>
          <p:cNvSpPr/>
          <p:nvPr/>
        </p:nvSpPr>
        <p:spPr>
          <a:xfrm>
            <a:off x="5144918" y="1227923"/>
            <a:ext cx="944196" cy="523220"/>
          </a:xfrm>
          <a:prstGeom prst="rect">
            <a:avLst/>
          </a:prstGeom>
        </p:spPr>
        <p:txBody>
          <a:bodyPr wrap="square">
            <a:spAutoFit/>
          </a:bodyPr>
          <a:lstStyle/>
          <a:p>
            <a:r>
              <a:rPr lang="en-US" sz="2800" b="1" dirty="0">
                <a:solidFill>
                  <a:srgbClr val="000000"/>
                </a:solidFill>
                <a:latin typeface="Arial" panose="020B0604020202020204" pitchFamily="34" charset="0"/>
              </a:rPr>
              <a:t>53% </a:t>
            </a:r>
            <a:endParaRPr lang="fr-FR" sz="2800" dirty="0"/>
          </a:p>
        </p:txBody>
      </p:sp>
      <p:sp>
        <p:nvSpPr>
          <p:cNvPr id="3" name="Rectangle 2"/>
          <p:cNvSpPr/>
          <p:nvPr/>
        </p:nvSpPr>
        <p:spPr>
          <a:xfrm>
            <a:off x="6789561" y="2763400"/>
            <a:ext cx="1970333" cy="1938992"/>
          </a:xfrm>
          <a:prstGeom prst="rect">
            <a:avLst/>
          </a:prstGeom>
        </p:spPr>
        <p:txBody>
          <a:bodyPr wrap="square">
            <a:spAutoFit/>
          </a:bodyPr>
          <a:lstStyle/>
          <a:p>
            <a:pPr algn="ctr"/>
            <a:r>
              <a:rPr lang="en-US" sz="1600" b="1" dirty="0" smtClean="0">
                <a:solidFill>
                  <a:prstClr val="black"/>
                </a:solidFill>
                <a:latin typeface="Arial" panose="020B0604020202020204" pitchFamily="34" charset="0"/>
              </a:rPr>
              <a:t>“</a:t>
            </a:r>
            <a:r>
              <a:rPr lang="pt-BR" sz="1100" dirty="0">
                <a:solidFill>
                  <a:prstClr val="black"/>
                </a:solidFill>
                <a:latin typeface="Arial" panose="020B0604020202020204" pitchFamily="34" charset="0"/>
              </a:rPr>
              <a:t>ESTOU </a:t>
            </a:r>
            <a:r>
              <a:rPr lang="pt-BR" sz="1300" b="1" dirty="0">
                <a:solidFill>
                  <a:prstClr val="black"/>
                </a:solidFill>
                <a:latin typeface="Arial" panose="020B0604020202020204" pitchFamily="34" charset="0"/>
              </a:rPr>
              <a:t>PREOCUPADO</a:t>
            </a:r>
            <a:r>
              <a:rPr lang="pt-BR" sz="1100" b="1" dirty="0">
                <a:solidFill>
                  <a:prstClr val="black"/>
                </a:solidFill>
                <a:latin typeface="Arial" panose="020B0604020202020204" pitchFamily="34" charset="0"/>
              </a:rPr>
              <a:t> </a:t>
            </a:r>
            <a:r>
              <a:rPr lang="pt-BR" sz="1100" dirty="0">
                <a:solidFill>
                  <a:prstClr val="black"/>
                </a:solidFill>
                <a:latin typeface="Arial" panose="020B0604020202020204" pitchFamily="34" charset="0"/>
              </a:rPr>
              <a:t>QUE OS </a:t>
            </a:r>
            <a:r>
              <a:rPr lang="pt-BR" sz="1300" b="1" dirty="0">
                <a:solidFill>
                  <a:prstClr val="black"/>
                </a:solidFill>
                <a:latin typeface="Arial" panose="020B0604020202020204" pitchFamily="34" charset="0"/>
              </a:rPr>
              <a:t>INGREDIENTES USADOS EM PRODUTOS NATURAIS NÃO SEJAM SUSTENTÁVEIS</a:t>
            </a:r>
            <a:r>
              <a:rPr lang="en-US" sz="1600" b="1" dirty="0" smtClean="0">
                <a:solidFill>
                  <a:prstClr val="black"/>
                </a:solidFill>
                <a:latin typeface="Arial" panose="020B0604020202020204" pitchFamily="34" charset="0"/>
              </a:rPr>
              <a:t>“</a:t>
            </a:r>
            <a:br>
              <a:rPr lang="en-US" sz="1300" dirty="0" smtClean="0">
                <a:solidFill>
                  <a:prstClr val="black"/>
                </a:solidFill>
                <a:latin typeface="Arial" panose="020B0604020202020204" pitchFamily="34" charset="0"/>
              </a:rPr>
            </a:br>
            <a:endParaRPr lang="en-US" sz="1000" dirty="0" smtClean="0">
              <a:solidFill>
                <a:prstClr val="black"/>
              </a:solidFill>
              <a:latin typeface="Arial" panose="020B0604020202020204" pitchFamily="34" charset="0"/>
            </a:endParaRPr>
          </a:p>
        </p:txBody>
      </p:sp>
      <p:sp>
        <p:nvSpPr>
          <p:cNvPr id="18" name="Rectangle 17"/>
          <p:cNvSpPr/>
          <p:nvPr/>
        </p:nvSpPr>
        <p:spPr>
          <a:xfrm>
            <a:off x="2414250" y="2695919"/>
            <a:ext cx="1653719" cy="1955171"/>
          </a:xfrm>
          <a:prstGeom prst="rect">
            <a:avLst/>
          </a:prstGeom>
          <a:solidFill>
            <a:srgbClr val="77A67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fr-FR" sz="11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6" name="TextBox 22"/>
          <p:cNvSpPr txBox="1"/>
          <p:nvPr/>
        </p:nvSpPr>
        <p:spPr>
          <a:xfrm>
            <a:off x="2510487" y="2930993"/>
            <a:ext cx="1413813" cy="1354730"/>
          </a:xfrm>
          <a:prstGeom prst="rect">
            <a:avLst/>
          </a:prstGeom>
          <a:noFill/>
        </p:spPr>
        <p:txBody>
          <a:bodyPr wrap="square" lIns="0" tIns="0" rIns="0" bIns="0" rtlCol="0">
            <a:spAutoFit/>
          </a:bodyPr>
          <a:lstStyle/>
          <a:p>
            <a:pPr algn="ctr">
              <a:lnSpc>
                <a:spcPct val="150000"/>
              </a:lnSpc>
            </a:pPr>
            <a:r>
              <a:rPr lang="pt-BR" sz="1465" b="1" dirty="0">
                <a:solidFill>
                  <a:prstClr val="black"/>
                </a:solidFill>
                <a:latin typeface="Arial" panose="020B0604020202020204" pitchFamily="34" charset="0"/>
              </a:rPr>
              <a:t>MAIOR DEMANDA </a:t>
            </a:r>
            <a:r>
              <a:rPr lang="pt-BR" sz="1465" dirty="0">
                <a:solidFill>
                  <a:prstClr val="black"/>
                </a:solidFill>
                <a:latin typeface="Arial" panose="020B0604020202020204" pitchFamily="34" charset="0"/>
              </a:rPr>
              <a:t>POR</a:t>
            </a:r>
            <a:r>
              <a:rPr lang="pt-BR" sz="1465" b="1" dirty="0">
                <a:solidFill>
                  <a:prstClr val="black"/>
                </a:solidFill>
                <a:latin typeface="Arial" panose="020B0604020202020204" pitchFamily="34" charset="0"/>
              </a:rPr>
              <a:t> </a:t>
            </a:r>
            <a:r>
              <a:rPr lang="pt-BR" sz="1465" b="1" dirty="0" smtClean="0">
                <a:solidFill>
                  <a:prstClr val="black"/>
                </a:solidFill>
                <a:latin typeface="Arial" panose="020B0604020202020204" pitchFamily="34" charset="0"/>
              </a:rPr>
              <a:t>PRODUTOS </a:t>
            </a:r>
            <a:r>
              <a:rPr lang="pt-BR" sz="1465" b="1" dirty="0">
                <a:solidFill>
                  <a:prstClr val="black"/>
                </a:solidFill>
                <a:latin typeface="Arial" panose="020B0604020202020204" pitchFamily="34" charset="0"/>
              </a:rPr>
              <a:t>NATURAIS</a:t>
            </a:r>
            <a:endParaRPr lang="en-US" sz="1465" b="1" dirty="0" smtClean="0">
              <a:solidFill>
                <a:prstClr val="black"/>
              </a:solidFill>
              <a:latin typeface="Arial" panose="020B0604020202020204" pitchFamily="34" charset="0"/>
            </a:endParaRPr>
          </a:p>
        </p:txBody>
      </p:sp>
      <p:sp>
        <p:nvSpPr>
          <p:cNvPr id="19" name="Rectangle 18"/>
          <p:cNvSpPr/>
          <p:nvPr/>
        </p:nvSpPr>
        <p:spPr>
          <a:xfrm>
            <a:off x="4132332" y="2695919"/>
            <a:ext cx="2547686" cy="1955171"/>
          </a:xfrm>
          <a:prstGeom prst="rect">
            <a:avLst/>
          </a:prstGeom>
          <a:solidFill>
            <a:srgbClr val="68C0BA">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solidFill>
                <a:prstClr val="black"/>
              </a:solidFill>
            </a:endParaRPr>
          </a:p>
        </p:txBody>
      </p:sp>
      <p:sp>
        <p:nvSpPr>
          <p:cNvPr id="20" name="Rectangle 19"/>
          <p:cNvSpPr/>
          <p:nvPr/>
        </p:nvSpPr>
        <p:spPr>
          <a:xfrm>
            <a:off x="4065478" y="2782490"/>
            <a:ext cx="944196" cy="521970"/>
          </a:xfrm>
          <a:prstGeom prst="rect">
            <a:avLst/>
          </a:prstGeom>
        </p:spPr>
        <p:txBody>
          <a:bodyPr wrap="square">
            <a:spAutoFit/>
          </a:bodyPr>
          <a:lstStyle/>
          <a:p>
            <a:r>
              <a:rPr lang="en-US" sz="2600" b="1" dirty="0" smtClean="0">
                <a:solidFill>
                  <a:srgbClr val="000000"/>
                </a:solidFill>
                <a:latin typeface="Arial" panose="020B0604020202020204" pitchFamily="34" charset="0"/>
              </a:rPr>
              <a:t>68%</a:t>
            </a:r>
            <a:r>
              <a:rPr lang="en-US" sz="2800" b="1" dirty="0" smtClean="0">
                <a:solidFill>
                  <a:srgbClr val="000000"/>
                </a:solidFill>
                <a:latin typeface="Arial" panose="020B0604020202020204" pitchFamily="34" charset="0"/>
              </a:rPr>
              <a:t> </a:t>
            </a:r>
            <a:endParaRPr lang="fr-FR" sz="2800" dirty="0"/>
          </a:p>
        </p:txBody>
      </p:sp>
      <p:sp>
        <p:nvSpPr>
          <p:cNvPr id="23" name="Rectangle 22"/>
          <p:cNvSpPr/>
          <p:nvPr/>
        </p:nvSpPr>
        <p:spPr>
          <a:xfrm>
            <a:off x="4132332" y="2925093"/>
            <a:ext cx="2547686" cy="1724126"/>
          </a:xfrm>
          <a:prstGeom prst="rect">
            <a:avLst/>
          </a:prstGeom>
          <a:noFill/>
        </p:spPr>
        <p:txBody>
          <a:bodyPr wrap="square">
            <a:spAutoFit/>
          </a:bodyPr>
          <a:lstStyle/>
          <a:p>
            <a:pPr algn="ctr">
              <a:lnSpc>
                <a:spcPct val="130000"/>
              </a:lnSpc>
            </a:pPr>
            <a:r>
              <a:rPr lang="en-US" sz="1300" dirty="0" smtClean="0">
                <a:solidFill>
                  <a:srgbClr val="000000"/>
                </a:solidFill>
                <a:latin typeface="Arial" panose="020B0604020202020204" pitchFamily="34" charset="0"/>
              </a:rPr>
              <a:t>           </a:t>
            </a:r>
            <a:r>
              <a:rPr lang="pt-BR" sz="1300" dirty="0">
                <a:solidFill>
                  <a:srgbClr val="000000"/>
                </a:solidFill>
                <a:latin typeface="Arial" panose="020B0604020202020204" pitchFamily="34" charset="0"/>
              </a:rPr>
              <a:t> </a:t>
            </a:r>
            <a:r>
              <a:rPr lang="pt-BR" sz="1300" dirty="0" smtClean="0">
                <a:solidFill>
                  <a:srgbClr val="000000"/>
                </a:solidFill>
                <a:latin typeface="Arial" panose="020B0604020202020204" pitchFamily="34" charset="0"/>
              </a:rPr>
              <a:t> DOS </a:t>
            </a:r>
            <a:r>
              <a:rPr lang="pt-BR" sz="1300" dirty="0">
                <a:solidFill>
                  <a:srgbClr val="000000"/>
                </a:solidFill>
                <a:latin typeface="Arial" panose="020B0604020202020204" pitchFamily="34" charset="0"/>
              </a:rPr>
              <a:t>CONSUMIDORES GLOBAIS SABEM COMO </a:t>
            </a:r>
            <a:r>
              <a:rPr lang="pt-BR" sz="1470" b="1" dirty="0">
                <a:solidFill>
                  <a:srgbClr val="000000"/>
                </a:solidFill>
                <a:latin typeface="Arial" panose="020B0604020202020204" pitchFamily="34" charset="0"/>
              </a:rPr>
              <a:t>IDENTIFICAR</a:t>
            </a:r>
            <a:r>
              <a:rPr lang="pt-BR" sz="1300" dirty="0">
                <a:solidFill>
                  <a:srgbClr val="000000"/>
                </a:solidFill>
                <a:latin typeface="Arial" panose="020B0604020202020204" pitchFamily="34" charset="0"/>
              </a:rPr>
              <a:t> PRODUTOS COM </a:t>
            </a:r>
            <a:r>
              <a:rPr lang="pt-BR" sz="1470" b="1" dirty="0">
                <a:solidFill>
                  <a:srgbClr val="000000"/>
                </a:solidFill>
                <a:latin typeface="Arial" panose="020B0604020202020204" pitchFamily="34" charset="0"/>
              </a:rPr>
              <a:t>INGREDIENTES DE ORIGEM SUSTENTÁVEL</a:t>
            </a:r>
            <a:endParaRPr lang="pt-BR" sz="1470" b="1" dirty="0">
              <a:latin typeface="Arial" panose="020B0604020202020204" pitchFamily="34" charset="0"/>
            </a:endParaRPr>
          </a:p>
        </p:txBody>
      </p:sp>
      <p:sp>
        <p:nvSpPr>
          <p:cNvPr id="32" name="Espace réservé du numéro de diapositive 3"/>
          <p:cNvSpPr txBox="1"/>
          <p:nvPr/>
        </p:nvSpPr>
        <p:spPr>
          <a:xfrm>
            <a:off x="6900863" y="4890988"/>
            <a:ext cx="2057400" cy="273050"/>
          </a:xfrm>
          <a:prstGeom prst="rect">
            <a:avLst/>
          </a:prstGeom>
        </p:spPr>
        <p:txBody>
          <a:bodyPr/>
          <a:lstStyle>
            <a:defPPr>
              <a:defRPr lang="pt-BR"/>
            </a:defPPr>
            <a:lvl1pPr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313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lgn="r">
              <a:defRPr/>
            </a:pPr>
            <a:fld id="{9FAFCEB4-50DF-41A7-82D9-EE3D77AABA92}" type="slidenum">
              <a:rPr lang="fr-FR" sz="900" smtClean="0">
                <a:latin typeface="Arial" panose="020B0604020202020204" pitchFamily="34" charset="0"/>
              </a:rPr>
            </a:fld>
            <a:endParaRPr lang="fr-FR" sz="900">
              <a:latin typeface="Arial" panose="020B0604020202020204" pitchFamily="34" charset="0"/>
            </a:endParaRPr>
          </a:p>
        </p:txBody>
      </p:sp>
      <p:sp>
        <p:nvSpPr>
          <p:cNvPr id="31" name="Titre 1"/>
          <p:cNvSpPr>
            <a:spLocks noGrp="1"/>
          </p:cNvSpPr>
          <p:nvPr>
            <p:ph type="title"/>
          </p:nvPr>
        </p:nvSpPr>
        <p:spPr>
          <a:xfrm>
            <a:off x="457200" y="488950"/>
            <a:ext cx="5808663" cy="166688"/>
          </a:xfrm>
        </p:spPr>
        <p:txBody>
          <a:bodyPr/>
          <a:lstStyle/>
          <a:p>
            <a:r>
              <a:rPr lang="de-DE" dirty="0" smtClean="0"/>
              <a:t>O que os consumidores desejam?</a:t>
            </a:r>
            <a:endParaRPr lang="fr-FR" dirty="0"/>
          </a:p>
        </p:txBody>
      </p:sp>
      <p:sp>
        <p:nvSpPr>
          <p:cNvPr id="33" name="Sous-titre 3"/>
          <p:cNvSpPr>
            <a:spLocks noGrp="1"/>
          </p:cNvSpPr>
          <p:nvPr>
            <p:ph type="subTitle" idx="1"/>
          </p:nvPr>
        </p:nvSpPr>
        <p:spPr>
          <a:xfrm>
            <a:off x="457201" y="693901"/>
            <a:ext cx="6697743" cy="220499"/>
          </a:xfrm>
        </p:spPr>
        <p:txBody>
          <a:bodyPr/>
          <a:lstStyle/>
          <a:p>
            <a:r>
              <a:rPr lang="fr-FR" dirty="0">
                <a:solidFill>
                  <a:srgbClr val="FF0066"/>
                </a:solidFill>
              </a:rPr>
              <a:t>#</a:t>
            </a:r>
            <a:r>
              <a:rPr lang="fr-FR" dirty="0" err="1">
                <a:solidFill>
                  <a:srgbClr val="FF0066"/>
                </a:solidFill>
              </a:rPr>
              <a:t>eco-friendly</a:t>
            </a:r>
            <a:endParaRPr lang="fr-FR" dirty="0">
              <a:solidFill>
                <a:srgbClr val="FF0066"/>
              </a:solidFill>
            </a:endParaRPr>
          </a:p>
          <a:p>
            <a:endParaRPr lang="fr-FR" b="1" dirty="0">
              <a:solidFill>
                <a:srgbClr val="F89400"/>
              </a:solidFill>
            </a:endParaRPr>
          </a:p>
        </p:txBody>
      </p:sp>
      <p:sp>
        <p:nvSpPr>
          <p:cNvPr id="8" name="Rectangle 7"/>
          <p:cNvSpPr/>
          <p:nvPr/>
        </p:nvSpPr>
        <p:spPr>
          <a:xfrm>
            <a:off x="408539" y="4679208"/>
            <a:ext cx="5208477" cy="60016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defRPr/>
            </a:pPr>
            <a:r>
              <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Sources : CICS </a:t>
            </a:r>
            <a:r>
              <a:rPr lang="fr-FR" sz="1100" i="1" kern="0" dirty="0" err="1"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database</a:t>
            </a:r>
            <a:endPar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endParaRPr>
          </a:p>
          <a:p>
            <a:pPr lvl="1">
              <a:defRPr/>
            </a:pPr>
            <a:r>
              <a:rPr lang="en-US"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err="1"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Euromonitor</a:t>
            </a:r>
            <a:r>
              <a:rPr lang="en-US"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r>
              <a:rPr lang="en-US"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Report Ethical Living Market Drivers and Challenges | Dec, 2018</a:t>
            </a:r>
            <a:endParaRPr lang="en-US"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defRPr/>
            </a:pPr>
            <a:r>
              <a:rPr lang="fr-FR" sz="1100" i="1" kern="0" dirty="0" smtClean="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rPr>
              <a:t> </a:t>
            </a:r>
            <a:endParaRPr lang="fr-FR" sz="1100" i="1" kern="0" dirty="0">
              <a:solidFill>
                <a:sysClr val="windowText" lastClr="000000"/>
              </a:solidFill>
              <a:latin typeface="Times New Roman" panose="02020603050405020304" pitchFamily="18" charset="0"/>
              <a:ea typeface="MS PGothic" panose="020B0600070205080204" pitchFamily="34" charset="-128"/>
              <a:cs typeface="Times New Roman" panose="02020603050405020304" pitchFamily="18" charset="0"/>
            </a:endParaRPr>
          </a:p>
        </p:txBody>
      </p:sp>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ciel, extérieur, champ, ouvrir&#10;&#10;Description générée automatiquement"/>
          <p:cNvPicPr>
            <a:picLocks noChangeAspect="1"/>
          </p:cNvPicPr>
          <p:nvPr/>
        </p:nvPicPr>
        <p:blipFill rotWithShape="1">
          <a:blip r:embed="rId1">
            <a:extLst>
              <a:ext uri="{28A0092B-C50C-407E-A947-70E740481C1C}">
                <a14:useLocalDpi xmlns:a14="http://schemas.microsoft.com/office/drawing/2010/main" val="0"/>
              </a:ext>
            </a:extLst>
          </a:blip>
          <a:srcRect t="3234" b="43348"/>
          <a:stretch>
            <a:fillRect/>
          </a:stretch>
        </p:blipFill>
        <p:spPr>
          <a:xfrm>
            <a:off x="3851920" y="1375451"/>
            <a:ext cx="4811625" cy="3212541"/>
          </a:xfrm>
          <a:prstGeom prst="rect">
            <a:avLst/>
          </a:prstGeom>
        </p:spPr>
      </p:pic>
      <p:sp>
        <p:nvSpPr>
          <p:cNvPr id="15" name="Rectangle 14"/>
          <p:cNvSpPr/>
          <p:nvPr/>
        </p:nvSpPr>
        <p:spPr>
          <a:xfrm>
            <a:off x="0" y="2064"/>
            <a:ext cx="3851920" cy="5143500"/>
          </a:xfrm>
          <a:prstGeom prst="rect">
            <a:avLst/>
          </a:prstGeom>
          <a:solidFill>
            <a:srgbClr val="68B022">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graphicFrame>
        <p:nvGraphicFramePr>
          <p:cNvPr id="10" name="Object 9"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3" imgW="8890" imgH="8890" progId="TCLayout.ActiveDocument.1">
                  <p:embed/>
                </p:oleObj>
              </mc:Choice>
              <mc:Fallback>
                <p:oleObj name="think-cell Slide" r:id="rId3" imgW="8890" imgH="8890" progId="TCLayout.ActiveDocument.1">
                  <p:embed/>
                  <p:pic>
                    <p:nvPicPr>
                      <p:cNvPr id="0" name="Imagem 2062"/>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Rectangle 8" hidden="1"/>
          <p:cNvSpPr/>
          <p:nvPr>
            <p:custDataLst>
              <p:tags r:id="rId5"/>
            </p:custDataLst>
          </p:nvPr>
        </p:nvSpPr>
        <p:spPr>
          <a:xfrm>
            <a:off x="1" y="1"/>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3400">
              <a:solidFill>
                <a:prstClr val="black"/>
              </a:solidFill>
              <a:sym typeface="Arial" panose="020B0604020202020204" pitchFamily="34" charset="0"/>
            </a:endParaRPr>
          </a:p>
        </p:txBody>
      </p:sp>
      <p:sp>
        <p:nvSpPr>
          <p:cNvPr id="13" name="Slide Number Placeholder 2"/>
          <p:cNvSpPr>
            <a:spLocks noGrp="1"/>
          </p:cNvSpPr>
          <p:nvPr>
            <p:ph type="sldNum" sz="quarter" idx="12"/>
          </p:nvPr>
        </p:nvSpPr>
        <p:spPr/>
        <p:txBody>
          <a:bodyPr/>
          <a:lstStyle/>
          <a:p>
            <a:fld id="{8AD48C63-78A6-4D64-B839-4870EFEB9C13}" type="slidenum">
              <a:rPr lang="de-DE" smtClean="0">
                <a:solidFill>
                  <a:srgbClr val="878787"/>
                </a:solidFill>
              </a:rPr>
            </a:fld>
            <a:endParaRPr lang="en-US">
              <a:solidFill>
                <a:srgbClr val="878787"/>
              </a:solidFill>
            </a:endParaRPr>
          </a:p>
        </p:txBody>
      </p:sp>
      <p:sp>
        <p:nvSpPr>
          <p:cNvPr id="17" name="Title 1"/>
          <p:cNvSpPr>
            <a:spLocks noGrp="1"/>
          </p:cNvSpPr>
          <p:nvPr>
            <p:ph type="ctrTitle"/>
          </p:nvPr>
        </p:nvSpPr>
        <p:spPr>
          <a:xfrm>
            <a:off x="723325" y="2362613"/>
            <a:ext cx="2797115" cy="301825"/>
          </a:xfrm>
        </p:spPr>
        <p:txBody>
          <a:bodyPr/>
          <a:lstStyle/>
          <a:p>
            <a:r>
              <a:rPr lang="en-GB" sz="3200" dirty="0" err="1" smtClean="0">
                <a:solidFill>
                  <a:schemeClr val="tx1"/>
                </a:solidFill>
              </a:rPr>
              <a:t>Foodflow</a:t>
            </a:r>
            <a:r>
              <a:rPr lang="en-US" sz="3200" baseline="30000" dirty="0">
                <a:solidFill>
                  <a:prstClr val="black"/>
                </a:solidFill>
              </a:rPr>
              <a:t>®</a:t>
            </a:r>
            <a:endParaRPr lang="en-GB" sz="3200" dirty="0">
              <a:solidFill>
                <a:schemeClr val="tx1"/>
              </a:solidFill>
            </a:endParaRPr>
          </a:p>
        </p:txBody>
      </p:sp>
      <p:sp>
        <p:nvSpPr>
          <p:cNvPr id="18" name="Subtitle 4"/>
          <p:cNvSpPr>
            <a:spLocks noGrp="1"/>
          </p:cNvSpPr>
          <p:nvPr>
            <p:ph type="subTitle" idx="1"/>
          </p:nvPr>
        </p:nvSpPr>
        <p:spPr>
          <a:xfrm>
            <a:off x="723325" y="3144623"/>
            <a:ext cx="3319537" cy="400765"/>
          </a:xfrm>
        </p:spPr>
        <p:txBody>
          <a:bodyPr/>
          <a:lstStyle/>
          <a:p>
            <a:r>
              <a:rPr lang="en-GB" sz="2400" dirty="0" err="1" smtClean="0">
                <a:solidFill>
                  <a:schemeClr val="tx1"/>
                </a:solidFill>
              </a:rPr>
              <a:t>Rastreabilidade</a:t>
            </a:r>
            <a:r>
              <a:rPr lang="en-GB" sz="2400" dirty="0" smtClean="0">
                <a:solidFill>
                  <a:schemeClr val="tx1"/>
                </a:solidFill>
              </a:rPr>
              <a:t> </a:t>
            </a:r>
            <a:r>
              <a:rPr lang="en-GB" sz="2400" dirty="0">
                <a:solidFill>
                  <a:schemeClr val="tx1"/>
                </a:solidFill>
              </a:rPr>
              <a:t>&amp; </a:t>
            </a:r>
            <a:r>
              <a:rPr lang="en-GB" sz="2400" dirty="0" err="1" smtClean="0">
                <a:solidFill>
                  <a:schemeClr val="tx1"/>
                </a:solidFill>
              </a:rPr>
              <a:t>Sustentabilidade</a:t>
            </a:r>
            <a:r>
              <a:rPr lang="en-GB" sz="2400" dirty="0">
                <a:solidFill>
                  <a:schemeClr val="tx1"/>
                </a:solidFill>
              </a:rPr>
              <a:t> &amp; </a:t>
            </a:r>
            <a:r>
              <a:rPr lang="en-GB" sz="2400" dirty="0" err="1">
                <a:solidFill>
                  <a:schemeClr val="tx1"/>
                </a:solidFill>
              </a:rPr>
              <a:t>Abastecimento</a:t>
            </a:r>
            <a:endParaRPr lang="en-GB" sz="2400" dirty="0">
              <a:solidFill>
                <a:schemeClr val="tx1"/>
              </a:solidFill>
            </a:endParaRPr>
          </a:p>
        </p:txBody>
      </p:sp>
      <p:sp>
        <p:nvSpPr>
          <p:cNvPr id="16" name="Rectangle 15"/>
          <p:cNvSpPr/>
          <p:nvPr/>
        </p:nvSpPr>
        <p:spPr>
          <a:xfrm>
            <a:off x="457200" y="1375451"/>
            <a:ext cx="8206345" cy="3212541"/>
          </a:xfrm>
          <a:prstGeom prst="rect">
            <a:avLst/>
          </a:prstGeom>
          <a:noFill/>
          <a:ln w="19050">
            <a:solidFill>
              <a:srgbClr val="68B0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695261" y="2373646"/>
            <a:ext cx="1651926" cy="1208413"/>
          </a:xfrm>
          <a:prstGeom prst="rect">
            <a:avLst/>
          </a:prstGeom>
          <a:noFill/>
          <a:ln>
            <a:noFill/>
          </a:ln>
        </p:spPr>
      </p:pic>
      <p:sp>
        <p:nvSpPr>
          <p:cNvPr id="36" name="Rectangle 63"/>
          <p:cNvSpPr/>
          <p:nvPr/>
        </p:nvSpPr>
        <p:spPr>
          <a:xfrm>
            <a:off x="258220" y="2537870"/>
            <a:ext cx="2019148"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7" name="Rectangle 63"/>
          <p:cNvSpPr/>
          <p:nvPr/>
        </p:nvSpPr>
        <p:spPr>
          <a:xfrm>
            <a:off x="456115" y="2749387"/>
            <a:ext cx="1361553"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8" name="Rectangle 63"/>
          <p:cNvSpPr/>
          <p:nvPr/>
        </p:nvSpPr>
        <p:spPr>
          <a:xfrm>
            <a:off x="993452" y="3105490"/>
            <a:ext cx="1283915"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4" name="Rectangle 63"/>
          <p:cNvSpPr/>
          <p:nvPr/>
        </p:nvSpPr>
        <p:spPr>
          <a:xfrm>
            <a:off x="798363" y="1635646"/>
            <a:ext cx="1512000" cy="1961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7" name="Rectangle 56"/>
          <p:cNvSpPr/>
          <p:nvPr/>
        </p:nvSpPr>
        <p:spPr>
          <a:xfrm>
            <a:off x="107504" y="1588117"/>
            <a:ext cx="2232248" cy="1938992"/>
          </a:xfrm>
          <a:prstGeom prst="rect">
            <a:avLst/>
          </a:prstGeom>
        </p:spPr>
        <p:txBody>
          <a:bodyPr wrap="square">
            <a:spAutoFit/>
          </a:bodyPr>
          <a:lstStyle/>
          <a:p>
            <a:pPr algn="r"/>
            <a:r>
              <a:rPr lang="fr-FR" sz="1200" b="1" dirty="0" smtClean="0">
                <a:solidFill>
                  <a:prstClr val="black"/>
                </a:solidFill>
              </a:rPr>
              <a:t>Sistema Integrado</a:t>
            </a:r>
            <a:r>
              <a:rPr lang="fr-FR" sz="1200" dirty="0" smtClean="0">
                <a:solidFill>
                  <a:prstClr val="black"/>
                </a:solidFill>
              </a:rPr>
              <a:t>:</a:t>
            </a:r>
            <a:endParaRPr lang="fr-FR" sz="1200" dirty="0">
              <a:solidFill>
                <a:prstClr val="black"/>
              </a:solidFill>
            </a:endParaRPr>
          </a:p>
          <a:p>
            <a:pPr algn="r"/>
            <a:r>
              <a:rPr lang="fr-FR" sz="1200" dirty="0" smtClean="0">
                <a:solidFill>
                  <a:prstClr val="black"/>
                </a:solidFill>
              </a:rPr>
              <a:t>Nossos clientes são capazes de utilizar nossa solução em campo, utilizando um celular para tirar fotos das espécies, identificar e prospectar com o auxílio da nossa IA, novas áreas que possam ser utilizadas para coletar frutos que não seriam colhidos. </a:t>
            </a:r>
            <a:endParaRPr lang="fr-FR" sz="1200" b="1" dirty="0"/>
          </a:p>
        </p:txBody>
      </p:sp>
      <p:sp>
        <p:nvSpPr>
          <p:cNvPr id="35" name="Rectangle 62"/>
          <p:cNvSpPr/>
          <p:nvPr/>
        </p:nvSpPr>
        <p:spPr>
          <a:xfrm>
            <a:off x="945219" y="4297552"/>
            <a:ext cx="1080120" cy="1103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3" name="Rectangle 62"/>
          <p:cNvSpPr/>
          <p:nvPr/>
        </p:nvSpPr>
        <p:spPr>
          <a:xfrm>
            <a:off x="1439736" y="4109726"/>
            <a:ext cx="1332064" cy="1401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2" name="Rectangle 61"/>
          <p:cNvSpPr/>
          <p:nvPr/>
        </p:nvSpPr>
        <p:spPr>
          <a:xfrm>
            <a:off x="539551" y="3939910"/>
            <a:ext cx="1786049"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1" name="Rectangle 60"/>
          <p:cNvSpPr/>
          <p:nvPr/>
        </p:nvSpPr>
        <p:spPr>
          <a:xfrm>
            <a:off x="7668344" y="3889895"/>
            <a:ext cx="612000"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0" name="Rectangle 59"/>
          <p:cNvSpPr/>
          <p:nvPr/>
        </p:nvSpPr>
        <p:spPr>
          <a:xfrm>
            <a:off x="6264248" y="3669861"/>
            <a:ext cx="1041804"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9" name="Rectangle 58"/>
          <p:cNvSpPr/>
          <p:nvPr/>
        </p:nvSpPr>
        <p:spPr>
          <a:xfrm>
            <a:off x="6748052" y="1865429"/>
            <a:ext cx="1424348" cy="14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Rectangle 6"/>
          <p:cNvSpPr/>
          <p:nvPr/>
        </p:nvSpPr>
        <p:spPr>
          <a:xfrm>
            <a:off x="258219" y="3673895"/>
            <a:ext cx="2592288" cy="1015663"/>
          </a:xfrm>
          <a:prstGeom prst="rect">
            <a:avLst/>
          </a:prstGeom>
        </p:spPr>
        <p:txBody>
          <a:bodyPr wrap="square">
            <a:spAutoFit/>
          </a:bodyPr>
          <a:lstStyle/>
          <a:p>
            <a:pPr algn="r"/>
            <a:r>
              <a:rPr lang="en-US" sz="1200" dirty="0" err="1" smtClean="0">
                <a:solidFill>
                  <a:prstClr val="black"/>
                </a:solidFill>
              </a:rPr>
              <a:t>Garantia</a:t>
            </a:r>
            <a:r>
              <a:rPr lang="en-US" sz="1200" dirty="0" smtClean="0">
                <a:solidFill>
                  <a:prstClr val="black"/>
                </a:solidFill>
              </a:rPr>
              <a:t> no </a:t>
            </a:r>
            <a:r>
              <a:rPr lang="en-US" sz="1200" dirty="0" err="1" smtClean="0">
                <a:solidFill>
                  <a:prstClr val="black"/>
                </a:solidFill>
              </a:rPr>
              <a:t>fornecimento</a:t>
            </a:r>
            <a:r>
              <a:rPr lang="en-US" sz="1200" dirty="0" smtClean="0">
                <a:solidFill>
                  <a:prstClr val="black"/>
                </a:solidFill>
              </a:rPr>
              <a:t> do </a:t>
            </a:r>
            <a:r>
              <a:rPr lang="en-US" sz="1200" b="1" dirty="0" err="1" smtClean="0">
                <a:solidFill>
                  <a:prstClr val="black"/>
                </a:solidFill>
              </a:rPr>
              <a:t>conteúdo</a:t>
            </a:r>
            <a:r>
              <a:rPr lang="en-US" sz="1200" b="1" dirty="0" smtClean="0">
                <a:solidFill>
                  <a:prstClr val="black"/>
                </a:solidFill>
              </a:rPr>
              <a:t> online e offline </a:t>
            </a:r>
            <a:r>
              <a:rPr lang="en-US" sz="1200" dirty="0" err="1" smtClean="0">
                <a:solidFill>
                  <a:prstClr val="black"/>
                </a:solidFill>
              </a:rPr>
              <a:t>pela</a:t>
            </a:r>
            <a:r>
              <a:rPr lang="en-US" sz="1200" dirty="0" smtClean="0">
                <a:solidFill>
                  <a:prstClr val="black"/>
                </a:solidFill>
              </a:rPr>
              <a:t>  </a:t>
            </a:r>
            <a:r>
              <a:rPr lang="en-US" sz="1200" dirty="0" err="1" smtClean="0">
                <a:solidFill>
                  <a:prstClr val="black"/>
                </a:solidFill>
              </a:rPr>
              <a:t>plataforma</a:t>
            </a:r>
            <a:r>
              <a:rPr lang="en-US" sz="1200" dirty="0" smtClean="0">
                <a:solidFill>
                  <a:prstClr val="black"/>
                </a:solidFill>
              </a:rPr>
              <a:t> </a:t>
            </a:r>
            <a:r>
              <a:rPr lang="en-US" sz="1200" dirty="0" err="1" smtClean="0">
                <a:solidFill>
                  <a:prstClr val="black"/>
                </a:solidFill>
              </a:rPr>
              <a:t>Foodflow</a:t>
            </a:r>
            <a:r>
              <a:rPr lang="en-US" sz="1200" dirty="0" smtClean="0">
                <a:solidFill>
                  <a:prstClr val="black"/>
                </a:solidFill>
              </a:rPr>
              <a:t>, </a:t>
            </a:r>
            <a:r>
              <a:rPr lang="en-US" sz="1200" dirty="0" err="1" smtClean="0">
                <a:solidFill>
                  <a:prstClr val="black"/>
                </a:solidFill>
              </a:rPr>
              <a:t>gerando</a:t>
            </a:r>
            <a:r>
              <a:rPr lang="en-US" sz="1200" dirty="0" smtClean="0">
                <a:solidFill>
                  <a:prstClr val="black"/>
                </a:solidFill>
              </a:rPr>
              <a:t> </a:t>
            </a:r>
            <a:r>
              <a:rPr lang="en-US" sz="1200" b="1" dirty="0" err="1" smtClean="0">
                <a:solidFill>
                  <a:prstClr val="black"/>
                </a:solidFill>
              </a:rPr>
              <a:t>rastreabilidade</a:t>
            </a:r>
            <a:r>
              <a:rPr lang="en-US" sz="1200" dirty="0" smtClean="0">
                <a:solidFill>
                  <a:prstClr val="black"/>
                </a:solidFill>
              </a:rPr>
              <a:t> </a:t>
            </a:r>
            <a:r>
              <a:rPr lang="en-US" sz="1200" dirty="0" err="1" smtClean="0">
                <a:solidFill>
                  <a:prstClr val="black"/>
                </a:solidFill>
              </a:rPr>
              <a:t>em</a:t>
            </a:r>
            <a:r>
              <a:rPr lang="en-US" sz="1200" dirty="0" smtClean="0">
                <a:solidFill>
                  <a:prstClr val="black"/>
                </a:solidFill>
              </a:rPr>
              <a:t> </a:t>
            </a:r>
            <a:r>
              <a:rPr lang="en-US" sz="1200" dirty="0" err="1" smtClean="0">
                <a:solidFill>
                  <a:prstClr val="black"/>
                </a:solidFill>
              </a:rPr>
              <a:t>todo</a:t>
            </a:r>
            <a:r>
              <a:rPr lang="en-US" sz="1200" dirty="0" smtClean="0">
                <a:solidFill>
                  <a:prstClr val="black"/>
                </a:solidFill>
              </a:rPr>
              <a:t> o </a:t>
            </a:r>
            <a:r>
              <a:rPr lang="en-US" sz="1200" dirty="0" err="1" smtClean="0">
                <a:solidFill>
                  <a:prstClr val="black"/>
                </a:solidFill>
              </a:rPr>
              <a:t>processo</a:t>
            </a:r>
            <a:r>
              <a:rPr lang="en-US" sz="1200" dirty="0" smtClean="0">
                <a:solidFill>
                  <a:prstClr val="black"/>
                </a:solidFill>
              </a:rPr>
              <a:t> </a:t>
            </a:r>
            <a:r>
              <a:rPr lang="en-US" sz="1200" dirty="0" err="1" smtClean="0">
                <a:solidFill>
                  <a:prstClr val="black"/>
                </a:solidFill>
              </a:rPr>
              <a:t>registrado</a:t>
            </a:r>
            <a:r>
              <a:rPr lang="en-US" sz="1200" dirty="0" smtClean="0">
                <a:solidFill>
                  <a:prstClr val="black"/>
                </a:solidFill>
              </a:rPr>
              <a:t> no </a:t>
            </a:r>
            <a:r>
              <a:rPr lang="en-US" sz="1200" dirty="0" err="1" smtClean="0">
                <a:solidFill>
                  <a:prstClr val="black"/>
                </a:solidFill>
              </a:rPr>
              <a:t>sistema</a:t>
            </a:r>
            <a:r>
              <a:rPr lang="en-US" sz="1200" dirty="0" smtClean="0">
                <a:solidFill>
                  <a:prstClr val="black"/>
                </a:solidFill>
              </a:rPr>
              <a:t>.</a:t>
            </a:r>
            <a:endParaRPr lang="fr-FR" sz="1200" dirty="0">
              <a:solidFill>
                <a:prstClr val="black"/>
              </a:solidFill>
            </a:endParaRPr>
          </a:p>
        </p:txBody>
      </p:sp>
      <p:sp>
        <p:nvSpPr>
          <p:cNvPr id="3079" name="Rectangle 3078"/>
          <p:cNvSpPr/>
          <p:nvPr/>
        </p:nvSpPr>
        <p:spPr>
          <a:xfrm>
            <a:off x="6660232" y="1831802"/>
            <a:ext cx="2286000" cy="1015663"/>
          </a:xfrm>
          <a:prstGeom prst="rect">
            <a:avLst/>
          </a:prstGeom>
        </p:spPr>
        <p:txBody>
          <a:bodyPr wrap="square">
            <a:spAutoFit/>
          </a:bodyPr>
          <a:lstStyle/>
          <a:p>
            <a:r>
              <a:rPr lang="en-US" sz="1200" b="1" dirty="0" err="1" smtClean="0">
                <a:solidFill>
                  <a:prstClr val="black"/>
                </a:solidFill>
              </a:rPr>
              <a:t>Projeto</a:t>
            </a:r>
            <a:r>
              <a:rPr lang="en-US" sz="1200" b="1" dirty="0" smtClean="0">
                <a:solidFill>
                  <a:prstClr val="black"/>
                </a:solidFill>
              </a:rPr>
              <a:t> </a:t>
            </a:r>
            <a:r>
              <a:rPr lang="en-US" sz="1200" b="1" dirty="0" err="1" smtClean="0">
                <a:solidFill>
                  <a:prstClr val="black"/>
                </a:solidFill>
              </a:rPr>
              <a:t>Sustentável</a:t>
            </a:r>
            <a:r>
              <a:rPr lang="en-US" sz="1200" b="1" dirty="0">
                <a:solidFill>
                  <a:prstClr val="black"/>
                </a:solidFill>
              </a:rPr>
              <a:t> </a:t>
            </a:r>
            <a:r>
              <a:rPr lang="en-US" sz="1200" dirty="0" err="1" smtClean="0">
                <a:solidFill>
                  <a:prstClr val="black"/>
                </a:solidFill>
              </a:rPr>
              <a:t>que</a:t>
            </a:r>
            <a:r>
              <a:rPr lang="en-US" sz="1200" dirty="0" smtClean="0">
                <a:solidFill>
                  <a:prstClr val="black"/>
                </a:solidFill>
              </a:rPr>
              <a:t> </a:t>
            </a:r>
            <a:r>
              <a:rPr lang="en-US" sz="1200" dirty="0" err="1" smtClean="0">
                <a:solidFill>
                  <a:prstClr val="black"/>
                </a:solidFill>
              </a:rPr>
              <a:t>valoriza</a:t>
            </a:r>
            <a:r>
              <a:rPr lang="en-US" sz="1200" dirty="0" smtClean="0">
                <a:solidFill>
                  <a:prstClr val="black"/>
                </a:solidFill>
              </a:rPr>
              <a:t> </a:t>
            </a:r>
            <a:r>
              <a:rPr lang="en-US" sz="1200" dirty="0" err="1" smtClean="0">
                <a:solidFill>
                  <a:prstClr val="black"/>
                </a:solidFill>
              </a:rPr>
              <a:t>cada</a:t>
            </a:r>
            <a:r>
              <a:rPr lang="en-US" sz="1200" dirty="0" smtClean="0">
                <a:solidFill>
                  <a:prstClr val="black"/>
                </a:solidFill>
              </a:rPr>
              <a:t> </a:t>
            </a:r>
            <a:r>
              <a:rPr lang="en-US" sz="1200" dirty="0" err="1" smtClean="0">
                <a:solidFill>
                  <a:prstClr val="black"/>
                </a:solidFill>
              </a:rPr>
              <a:t>etapa</a:t>
            </a:r>
            <a:r>
              <a:rPr lang="en-US" sz="1200" dirty="0" smtClean="0">
                <a:solidFill>
                  <a:prstClr val="black"/>
                </a:solidFill>
              </a:rPr>
              <a:t> de </a:t>
            </a:r>
            <a:r>
              <a:rPr lang="en-US" sz="1200" dirty="0" err="1" smtClean="0">
                <a:solidFill>
                  <a:prstClr val="black"/>
                </a:solidFill>
              </a:rPr>
              <a:t>desenvolvimento</a:t>
            </a:r>
            <a:r>
              <a:rPr lang="en-US" sz="1200" dirty="0" smtClean="0">
                <a:solidFill>
                  <a:prstClr val="black"/>
                </a:solidFill>
              </a:rPr>
              <a:t> </a:t>
            </a:r>
            <a:r>
              <a:rPr lang="en-US" sz="1200" dirty="0" err="1" smtClean="0">
                <a:solidFill>
                  <a:prstClr val="black"/>
                </a:solidFill>
              </a:rPr>
              <a:t>para</a:t>
            </a:r>
            <a:r>
              <a:rPr lang="en-US" sz="1200" dirty="0" smtClean="0">
                <a:solidFill>
                  <a:prstClr val="black"/>
                </a:solidFill>
              </a:rPr>
              <a:t> </a:t>
            </a:r>
            <a:r>
              <a:rPr lang="en-US" sz="1200" dirty="0" err="1" smtClean="0">
                <a:solidFill>
                  <a:prstClr val="black"/>
                </a:solidFill>
              </a:rPr>
              <a:t>produzir</a:t>
            </a:r>
            <a:r>
              <a:rPr lang="en-US" sz="1200" dirty="0" smtClean="0">
                <a:solidFill>
                  <a:prstClr val="black"/>
                </a:solidFill>
              </a:rPr>
              <a:t> um </a:t>
            </a:r>
            <a:r>
              <a:rPr lang="en-US" sz="1200" dirty="0" err="1" smtClean="0">
                <a:solidFill>
                  <a:prstClr val="black"/>
                </a:solidFill>
              </a:rPr>
              <a:t>conteúdo</a:t>
            </a:r>
            <a:r>
              <a:rPr lang="en-US" sz="1200" dirty="0" smtClean="0">
                <a:solidFill>
                  <a:prstClr val="black"/>
                </a:solidFill>
              </a:rPr>
              <a:t> de </a:t>
            </a:r>
            <a:r>
              <a:rPr lang="en-US" sz="1200" dirty="0" err="1" smtClean="0">
                <a:solidFill>
                  <a:prstClr val="black"/>
                </a:solidFill>
              </a:rPr>
              <a:t>qualidade</a:t>
            </a:r>
            <a:r>
              <a:rPr lang="en-US" sz="1200" dirty="0" smtClean="0">
                <a:solidFill>
                  <a:prstClr val="black"/>
                </a:solidFill>
              </a:rPr>
              <a:t> </a:t>
            </a:r>
            <a:r>
              <a:rPr lang="en-US" sz="1200" dirty="0" err="1" smtClean="0">
                <a:solidFill>
                  <a:prstClr val="black"/>
                </a:solidFill>
              </a:rPr>
              <a:t>na</a:t>
            </a:r>
            <a:r>
              <a:rPr lang="en-US" sz="1200" dirty="0" smtClean="0">
                <a:solidFill>
                  <a:prstClr val="black"/>
                </a:solidFill>
              </a:rPr>
              <a:t> </a:t>
            </a:r>
            <a:r>
              <a:rPr lang="en-US" sz="1200" dirty="0" err="1" smtClean="0">
                <a:solidFill>
                  <a:prstClr val="black"/>
                </a:solidFill>
              </a:rPr>
              <a:t>prática</a:t>
            </a:r>
            <a:r>
              <a:rPr lang="en-US" sz="1200" dirty="0" smtClean="0">
                <a:solidFill>
                  <a:prstClr val="black"/>
                </a:solidFill>
              </a:rPr>
              <a:t>.</a:t>
            </a:r>
            <a:endParaRPr lang="en-US" sz="1200" dirty="0">
              <a:solidFill>
                <a:prstClr val="black"/>
              </a:solidFill>
            </a:endParaRPr>
          </a:p>
        </p:txBody>
      </p:sp>
      <p:sp>
        <p:nvSpPr>
          <p:cNvPr id="3080" name="Rectangle 3079"/>
          <p:cNvSpPr/>
          <p:nvPr/>
        </p:nvSpPr>
        <p:spPr>
          <a:xfrm>
            <a:off x="6173062" y="3633286"/>
            <a:ext cx="2773170" cy="830997"/>
          </a:xfrm>
          <a:prstGeom prst="rect">
            <a:avLst/>
          </a:prstGeom>
        </p:spPr>
        <p:txBody>
          <a:bodyPr wrap="square">
            <a:spAutoFit/>
          </a:bodyPr>
          <a:lstStyle/>
          <a:p>
            <a:r>
              <a:rPr lang="en-US" sz="1200" b="1" dirty="0" err="1" smtClean="0">
                <a:solidFill>
                  <a:prstClr val="black"/>
                </a:solidFill>
              </a:rPr>
              <a:t>Transparência</a:t>
            </a:r>
            <a:r>
              <a:rPr lang="en-US" sz="1200" dirty="0" smtClean="0">
                <a:solidFill>
                  <a:prstClr val="black"/>
                </a:solidFill>
              </a:rPr>
              <a:t> </a:t>
            </a:r>
            <a:r>
              <a:rPr lang="en-US" sz="1200" dirty="0" err="1" smtClean="0">
                <a:solidFill>
                  <a:prstClr val="black"/>
                </a:solidFill>
              </a:rPr>
              <a:t>na</a:t>
            </a:r>
            <a:r>
              <a:rPr lang="en-US" sz="1200" dirty="0" smtClean="0">
                <a:solidFill>
                  <a:prstClr val="black"/>
                </a:solidFill>
              </a:rPr>
              <a:t> </a:t>
            </a:r>
            <a:r>
              <a:rPr lang="en-US" sz="1200" dirty="0" err="1" smtClean="0">
                <a:solidFill>
                  <a:prstClr val="black"/>
                </a:solidFill>
              </a:rPr>
              <a:t>informação</a:t>
            </a:r>
            <a:r>
              <a:rPr lang="en-US" sz="1200" dirty="0" smtClean="0">
                <a:solidFill>
                  <a:prstClr val="black"/>
                </a:solidFill>
              </a:rPr>
              <a:t> com </a:t>
            </a:r>
            <a:r>
              <a:rPr lang="en-US" sz="1200" dirty="0" err="1" smtClean="0">
                <a:solidFill>
                  <a:prstClr val="black"/>
                </a:solidFill>
              </a:rPr>
              <a:t>nossos</a:t>
            </a:r>
            <a:r>
              <a:rPr lang="en-US" sz="1200" dirty="0" smtClean="0">
                <a:solidFill>
                  <a:prstClr val="black"/>
                </a:solidFill>
              </a:rPr>
              <a:t> </a:t>
            </a:r>
            <a:r>
              <a:rPr lang="en-US" sz="1200" dirty="0" err="1" smtClean="0">
                <a:solidFill>
                  <a:prstClr val="black"/>
                </a:solidFill>
              </a:rPr>
              <a:t>clientes</a:t>
            </a:r>
            <a:r>
              <a:rPr lang="en-US" sz="1200" dirty="0" smtClean="0">
                <a:solidFill>
                  <a:prstClr val="black"/>
                </a:solidFill>
              </a:rPr>
              <a:t> </a:t>
            </a:r>
            <a:r>
              <a:rPr lang="en-US" sz="1200" dirty="0" err="1" smtClean="0">
                <a:solidFill>
                  <a:prstClr val="black"/>
                </a:solidFill>
              </a:rPr>
              <a:t>para</a:t>
            </a:r>
            <a:r>
              <a:rPr lang="en-US" sz="1200" dirty="0" smtClean="0">
                <a:solidFill>
                  <a:prstClr val="black"/>
                </a:solidFill>
              </a:rPr>
              <a:t> </a:t>
            </a:r>
            <a:r>
              <a:rPr lang="en-US" sz="1200" b="1" dirty="0" err="1" smtClean="0">
                <a:solidFill>
                  <a:prstClr val="black"/>
                </a:solidFill>
              </a:rPr>
              <a:t>otimizar</a:t>
            </a:r>
            <a:r>
              <a:rPr lang="en-US" sz="1200" dirty="0" smtClean="0">
                <a:solidFill>
                  <a:prstClr val="black"/>
                </a:solidFill>
              </a:rPr>
              <a:t>  o </a:t>
            </a:r>
            <a:r>
              <a:rPr lang="en-US" sz="1200" dirty="0" err="1" smtClean="0">
                <a:solidFill>
                  <a:prstClr val="black"/>
                </a:solidFill>
              </a:rPr>
              <a:t>processo</a:t>
            </a:r>
            <a:r>
              <a:rPr lang="en-US" sz="1200" dirty="0">
                <a:solidFill>
                  <a:prstClr val="black"/>
                </a:solidFill>
              </a:rPr>
              <a:t> </a:t>
            </a:r>
            <a:r>
              <a:rPr lang="en-US" sz="1200" dirty="0" smtClean="0">
                <a:solidFill>
                  <a:prstClr val="black"/>
                </a:solidFill>
              </a:rPr>
              <a:t>e </a:t>
            </a:r>
            <a:r>
              <a:rPr lang="en-US" sz="1200" dirty="0" err="1" smtClean="0">
                <a:solidFill>
                  <a:prstClr val="black"/>
                </a:solidFill>
              </a:rPr>
              <a:t>causar</a:t>
            </a:r>
            <a:r>
              <a:rPr lang="en-US" sz="1200" dirty="0" smtClean="0">
                <a:solidFill>
                  <a:prstClr val="black"/>
                </a:solidFill>
              </a:rPr>
              <a:t> um </a:t>
            </a:r>
            <a:r>
              <a:rPr lang="en-US" sz="1200" dirty="0" err="1" smtClean="0">
                <a:solidFill>
                  <a:prstClr val="black"/>
                </a:solidFill>
              </a:rPr>
              <a:t>impacto</a:t>
            </a:r>
            <a:r>
              <a:rPr lang="en-US" sz="1200" dirty="0" smtClean="0">
                <a:solidFill>
                  <a:prstClr val="black"/>
                </a:solidFill>
              </a:rPr>
              <a:t> </a:t>
            </a:r>
            <a:r>
              <a:rPr lang="en-US" sz="1200" dirty="0" err="1" smtClean="0">
                <a:solidFill>
                  <a:prstClr val="black"/>
                </a:solidFill>
              </a:rPr>
              <a:t>positivo</a:t>
            </a:r>
            <a:r>
              <a:rPr lang="en-US" sz="1200" dirty="0" smtClean="0">
                <a:solidFill>
                  <a:prstClr val="black"/>
                </a:solidFill>
              </a:rPr>
              <a:t> </a:t>
            </a:r>
            <a:r>
              <a:rPr lang="en-US" sz="1200" dirty="0" err="1" smtClean="0">
                <a:solidFill>
                  <a:prstClr val="black"/>
                </a:solidFill>
              </a:rPr>
              <a:t>nas</a:t>
            </a:r>
            <a:r>
              <a:rPr lang="en-US" sz="1200" dirty="0" smtClean="0">
                <a:solidFill>
                  <a:prstClr val="black"/>
                </a:solidFill>
              </a:rPr>
              <a:t> </a:t>
            </a:r>
            <a:r>
              <a:rPr lang="en-US" sz="1200" dirty="0" err="1" smtClean="0">
                <a:solidFill>
                  <a:prstClr val="black"/>
                </a:solidFill>
              </a:rPr>
              <a:t>pessoas</a:t>
            </a:r>
            <a:r>
              <a:rPr lang="en-US" sz="1200" dirty="0" smtClean="0">
                <a:solidFill>
                  <a:prstClr val="black"/>
                </a:solidFill>
              </a:rPr>
              <a:t> e no </a:t>
            </a:r>
            <a:r>
              <a:rPr lang="en-US" sz="1200" dirty="0" err="1" smtClean="0">
                <a:solidFill>
                  <a:prstClr val="black"/>
                </a:solidFill>
              </a:rPr>
              <a:t>ambiente</a:t>
            </a:r>
            <a:r>
              <a:rPr lang="en-US" sz="1200" dirty="0" smtClean="0">
                <a:solidFill>
                  <a:prstClr val="black"/>
                </a:solidFill>
              </a:rPr>
              <a:t>.</a:t>
            </a:r>
            <a:endParaRPr lang="en-US" sz="1200" dirty="0">
              <a:solidFill>
                <a:prstClr val="black"/>
              </a:solidFill>
            </a:endParaRPr>
          </a:p>
        </p:txBody>
      </p:sp>
      <p:sp>
        <p:nvSpPr>
          <p:cNvPr id="2" name="Titre 1"/>
          <p:cNvSpPr>
            <a:spLocks noGrp="1"/>
          </p:cNvSpPr>
          <p:nvPr>
            <p:ph type="title"/>
          </p:nvPr>
        </p:nvSpPr>
        <p:spPr>
          <a:xfrm>
            <a:off x="455585" y="411510"/>
            <a:ext cx="5808663" cy="166688"/>
          </a:xfrm>
          <a:noFill/>
          <a:ln>
            <a:noFill/>
          </a:ln>
        </p:spPr>
        <p:txBody>
          <a:bodyPr vert="horz" wrap="square" lIns="0" tIns="0" rIns="0" bIns="0" numCol="1" anchor="ctr" anchorCtr="0" compatLnSpc="1"/>
          <a:lstStyle/>
          <a:p>
            <a:r>
              <a:rPr lang="de-DE" dirty="0"/>
              <a:t>Foodflow</a:t>
            </a:r>
            <a:r>
              <a:rPr lang="en-US" dirty="0"/>
              <a:t>®</a:t>
            </a:r>
            <a:endParaRPr lang="fr-FR" dirty="0"/>
          </a:p>
        </p:txBody>
      </p:sp>
      <p:sp>
        <p:nvSpPr>
          <p:cNvPr id="3" name="Sous-titre 2"/>
          <p:cNvSpPr>
            <a:spLocks noGrp="1"/>
          </p:cNvSpPr>
          <p:nvPr>
            <p:ph type="subTitle" idx="1"/>
          </p:nvPr>
        </p:nvSpPr>
        <p:spPr>
          <a:xfrm>
            <a:off x="456115" y="627534"/>
            <a:ext cx="5808133" cy="220063"/>
          </a:xfrm>
          <a:noFill/>
          <a:ln>
            <a:noFill/>
          </a:ln>
        </p:spPr>
        <p:txBody>
          <a:bodyPr vert="horz" wrap="square" lIns="0" tIns="0" rIns="0" bIns="0" numCol="1" anchor="t" anchorCtr="0" compatLnSpc="1"/>
          <a:lstStyle/>
          <a:p>
            <a:r>
              <a:rPr lang="fr-FR" dirty="0">
                <a:solidFill>
                  <a:srgbClr val="FF0066"/>
                </a:solidFill>
              </a:rPr>
              <a:t>O projeto</a:t>
            </a:r>
            <a:endParaRPr lang="fr-FR" dirty="0">
              <a:solidFill>
                <a:srgbClr val="FF0066"/>
              </a:solidFill>
            </a:endParaRPr>
          </a:p>
        </p:txBody>
      </p:sp>
      <p:sp>
        <p:nvSpPr>
          <p:cNvPr id="4" name="Espace réservé du numéro de diapositive 3"/>
          <p:cNvSpPr>
            <a:spLocks noGrp="1"/>
          </p:cNvSpPr>
          <p:nvPr>
            <p:ph type="sldNum" sz="quarter" idx="12"/>
          </p:nvPr>
        </p:nvSpPr>
        <p:spPr/>
        <p:txBody>
          <a:bodyPr/>
          <a:lstStyle/>
          <a:p>
            <a:fld id="{33BBF0EA-312D-42F6-8AD4-6CEA31025EAE}" type="slidenum">
              <a:rPr lang="de-DE" altLang="fr-FR" smtClean="0"/>
            </a:fld>
            <a:endParaRPr lang="de-DE" altLang="fr-FR" dirty="0"/>
          </a:p>
        </p:txBody>
      </p:sp>
      <p:sp>
        <p:nvSpPr>
          <p:cNvPr id="18" name="Arc 17"/>
          <p:cNvSpPr/>
          <p:nvPr/>
        </p:nvSpPr>
        <p:spPr>
          <a:xfrm rot="14028102">
            <a:off x="3506629" y="2371089"/>
            <a:ext cx="1917854" cy="1575694"/>
          </a:xfrm>
          <a:prstGeom prst="arc">
            <a:avLst>
              <a:gd name="adj1" fmla="val 16200000"/>
              <a:gd name="adj2" fmla="val 47236"/>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rgbClr val="7030A0"/>
              </a:solidFill>
            </a:endParaRPr>
          </a:p>
        </p:txBody>
      </p:sp>
      <p:sp>
        <p:nvSpPr>
          <p:cNvPr id="30" name="Forme libre 29"/>
          <p:cNvSpPr/>
          <p:nvPr/>
        </p:nvSpPr>
        <p:spPr>
          <a:xfrm>
            <a:off x="3990418" y="1570898"/>
            <a:ext cx="402609" cy="719363"/>
          </a:xfrm>
          <a:custGeom>
            <a:avLst/>
            <a:gdLst>
              <a:gd name="connsiteX0" fmla="*/ 0 w 402609"/>
              <a:gd name="connsiteY0" fmla="*/ 719363 h 719363"/>
              <a:gd name="connsiteX1" fmla="*/ 272955 w 402609"/>
              <a:gd name="connsiteY1" fmla="*/ 521470 h 719363"/>
              <a:gd name="connsiteX2" fmla="*/ 388961 w 402609"/>
              <a:gd name="connsiteY2" fmla="*/ 57446 h 719363"/>
              <a:gd name="connsiteX3" fmla="*/ 395785 w 402609"/>
              <a:gd name="connsiteY3" fmla="*/ 23327 h 719363"/>
            </a:gdLst>
            <a:ahLst/>
            <a:cxnLst>
              <a:cxn ang="0">
                <a:pos x="connsiteX0" y="connsiteY0"/>
              </a:cxn>
              <a:cxn ang="0">
                <a:pos x="connsiteX1" y="connsiteY1"/>
              </a:cxn>
              <a:cxn ang="0">
                <a:pos x="connsiteX2" y="connsiteY2"/>
              </a:cxn>
              <a:cxn ang="0">
                <a:pos x="connsiteX3" y="connsiteY3"/>
              </a:cxn>
            </a:cxnLst>
            <a:rect l="l" t="t" r="r" b="b"/>
            <a:pathLst>
              <a:path w="402609" h="719363">
                <a:moveTo>
                  <a:pt x="0" y="719363"/>
                </a:moveTo>
                <a:cubicBezTo>
                  <a:pt x="104064" y="675576"/>
                  <a:pt x="208128" y="631789"/>
                  <a:pt x="272955" y="521470"/>
                </a:cubicBezTo>
                <a:cubicBezTo>
                  <a:pt x="337782" y="411150"/>
                  <a:pt x="368489" y="140470"/>
                  <a:pt x="388961" y="57446"/>
                </a:cubicBezTo>
                <a:cubicBezTo>
                  <a:pt x="409433" y="-25578"/>
                  <a:pt x="402609" y="-1126"/>
                  <a:pt x="395785" y="23327"/>
                </a:cubicBezTo>
              </a:path>
            </a:pathLst>
          </a:custGeom>
          <a:noFill/>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chemeClr val="accent6">
                  <a:lumMod val="75000"/>
                </a:schemeClr>
              </a:solidFill>
            </a:endParaRPr>
          </a:p>
        </p:txBody>
      </p:sp>
      <p:sp>
        <p:nvSpPr>
          <p:cNvPr id="3073" name="Triangle isocèle 3072"/>
          <p:cNvSpPr/>
          <p:nvPr/>
        </p:nvSpPr>
        <p:spPr>
          <a:xfrm>
            <a:off x="4285997" y="1528779"/>
            <a:ext cx="216024" cy="169785"/>
          </a:xfrm>
          <a:prstGeom prst="triangle">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075" name="Rectangle 3074"/>
          <p:cNvSpPr/>
          <p:nvPr/>
        </p:nvSpPr>
        <p:spPr>
          <a:xfrm>
            <a:off x="2948062" y="1147067"/>
            <a:ext cx="3712170" cy="369332"/>
          </a:xfrm>
          <a:prstGeom prst="rect">
            <a:avLst/>
          </a:prstGeom>
          <a:noFill/>
        </p:spPr>
        <p:txBody>
          <a:bodyPr wrap="none">
            <a:spAutoFit/>
          </a:bodyPr>
          <a:lstStyle/>
          <a:p>
            <a:r>
              <a:rPr lang="en-US" b="1" cap="small" dirty="0" err="1" smtClean="0">
                <a:solidFill>
                  <a:schemeClr val="accent6">
                    <a:lumMod val="75000"/>
                  </a:schemeClr>
                </a:solidFill>
              </a:rPr>
              <a:t>Visão</a:t>
            </a:r>
            <a:r>
              <a:rPr lang="en-US" b="1" cap="small" dirty="0" smtClean="0">
                <a:solidFill>
                  <a:schemeClr val="accent6">
                    <a:lumMod val="75000"/>
                  </a:schemeClr>
                </a:solidFill>
              </a:rPr>
              <a:t> 360</a:t>
            </a:r>
            <a:r>
              <a:rPr lang="fr-FR" dirty="0">
                <a:solidFill>
                  <a:schemeClr val="accent6">
                    <a:lumMod val="75000"/>
                  </a:schemeClr>
                </a:solidFill>
              </a:rPr>
              <a:t> </a:t>
            </a:r>
            <a:r>
              <a:rPr lang="fr-FR" b="1" dirty="0">
                <a:solidFill>
                  <a:schemeClr val="accent6">
                    <a:lumMod val="75000"/>
                  </a:schemeClr>
                </a:solidFill>
              </a:rPr>
              <a:t>°</a:t>
            </a:r>
            <a:r>
              <a:rPr lang="en-US" b="1" cap="small" dirty="0" smtClean="0">
                <a:solidFill>
                  <a:schemeClr val="accent6">
                    <a:lumMod val="75000"/>
                  </a:schemeClr>
                </a:solidFill>
              </a:rPr>
              <a:t> </a:t>
            </a:r>
            <a:r>
              <a:rPr lang="en-US" b="1" cap="small" dirty="0">
                <a:solidFill>
                  <a:schemeClr val="accent6">
                    <a:lumMod val="75000"/>
                  </a:schemeClr>
                </a:solidFill>
              </a:rPr>
              <a:t>+ </a:t>
            </a:r>
            <a:r>
              <a:rPr lang="en-US" b="1" cap="small" dirty="0" smtClean="0">
                <a:solidFill>
                  <a:schemeClr val="accent6">
                    <a:lumMod val="75000"/>
                  </a:schemeClr>
                </a:solidFill>
              </a:rPr>
              <a:t>“</a:t>
            </a:r>
            <a:r>
              <a:rPr lang="en-US" b="1" cap="small" dirty="0" err="1" smtClean="0">
                <a:solidFill>
                  <a:schemeClr val="accent6">
                    <a:lumMod val="75000"/>
                  </a:schemeClr>
                </a:solidFill>
              </a:rPr>
              <a:t>totum</a:t>
            </a:r>
            <a:r>
              <a:rPr lang="en-US" b="1" cap="small" dirty="0" smtClean="0">
                <a:solidFill>
                  <a:schemeClr val="accent6">
                    <a:lumMod val="75000"/>
                  </a:schemeClr>
                </a:solidFill>
              </a:rPr>
              <a:t> approach” </a:t>
            </a:r>
            <a:endParaRPr lang="en-US" b="1" cap="small" dirty="0">
              <a:solidFill>
                <a:schemeClr val="accent6">
                  <a:lumMod val="75000"/>
                </a:schemeClr>
              </a:solidFill>
            </a:endParaRPr>
          </a:p>
        </p:txBody>
      </p:sp>
      <p:sp>
        <p:nvSpPr>
          <p:cNvPr id="3076" name="Ellipse 3075"/>
          <p:cNvSpPr/>
          <p:nvPr/>
        </p:nvSpPr>
        <p:spPr>
          <a:xfrm>
            <a:off x="5242007" y="2571750"/>
            <a:ext cx="93168" cy="93168"/>
          </a:xfrm>
          <a:prstGeom prst="ellipse">
            <a:avLst/>
          </a:prstGeom>
          <a:solidFill>
            <a:srgbClr val="99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3078" name="Connecteur droit 3077"/>
          <p:cNvCxnSpPr/>
          <p:nvPr/>
        </p:nvCxnSpPr>
        <p:spPr>
          <a:xfrm flipV="1">
            <a:off x="5302068" y="2282946"/>
            <a:ext cx="1260364" cy="328474"/>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82" name="Connecteur droit 3081"/>
          <p:cNvCxnSpPr/>
          <p:nvPr/>
        </p:nvCxnSpPr>
        <p:spPr>
          <a:xfrm>
            <a:off x="6660232" y="1915948"/>
            <a:ext cx="0" cy="720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3" name="Ellipse 42"/>
          <p:cNvSpPr/>
          <p:nvPr/>
        </p:nvSpPr>
        <p:spPr>
          <a:xfrm>
            <a:off x="4910880" y="3723878"/>
            <a:ext cx="93168" cy="93168"/>
          </a:xfrm>
          <a:prstGeom prst="ellipse">
            <a:avLst/>
          </a:prstGeom>
          <a:solidFill>
            <a:srgbClr val="99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44" name="Connecteur droit 43"/>
          <p:cNvCxnSpPr/>
          <p:nvPr/>
        </p:nvCxnSpPr>
        <p:spPr>
          <a:xfrm>
            <a:off x="4933108" y="3758434"/>
            <a:ext cx="1168476" cy="25347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nvCxnSpPr>
        <p:spPr>
          <a:xfrm>
            <a:off x="6156176" y="3673895"/>
            <a:ext cx="0" cy="576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 name="Ellipse 46"/>
          <p:cNvSpPr/>
          <p:nvPr/>
        </p:nvSpPr>
        <p:spPr>
          <a:xfrm>
            <a:off x="3648677" y="3336916"/>
            <a:ext cx="93168" cy="93168"/>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cxnSp>
        <p:nvCxnSpPr>
          <p:cNvPr id="48" name="Connecteur droit 47"/>
          <p:cNvCxnSpPr/>
          <p:nvPr/>
        </p:nvCxnSpPr>
        <p:spPr>
          <a:xfrm flipV="1">
            <a:off x="2915816" y="3383500"/>
            <a:ext cx="779445" cy="70045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Connecteur droit 49"/>
          <p:cNvCxnSpPr/>
          <p:nvPr/>
        </p:nvCxnSpPr>
        <p:spPr>
          <a:xfrm>
            <a:off x="2843808" y="3867894"/>
            <a:ext cx="0" cy="540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3" name="Ellipse 52"/>
          <p:cNvSpPr/>
          <p:nvPr/>
        </p:nvSpPr>
        <p:spPr>
          <a:xfrm>
            <a:off x="3588239" y="2674785"/>
            <a:ext cx="93168" cy="93168"/>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cxnSp>
        <p:nvCxnSpPr>
          <p:cNvPr id="54" name="Connecteur droit 53"/>
          <p:cNvCxnSpPr/>
          <p:nvPr/>
        </p:nvCxnSpPr>
        <p:spPr>
          <a:xfrm>
            <a:off x="2411760" y="2290261"/>
            <a:ext cx="1221158" cy="43110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Connecteur droit 54"/>
          <p:cNvCxnSpPr/>
          <p:nvPr/>
        </p:nvCxnSpPr>
        <p:spPr>
          <a:xfrm>
            <a:off x="2339752" y="1635646"/>
            <a:ext cx="0" cy="1476000"/>
          </a:xfrm>
          <a:prstGeom prst="lin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Forme libre 29"/>
          <p:cNvSpPr/>
          <p:nvPr/>
        </p:nvSpPr>
        <p:spPr>
          <a:xfrm flipV="1">
            <a:off x="4049213" y="2111854"/>
            <a:ext cx="1372629" cy="1812823"/>
          </a:xfrm>
          <a:custGeom>
            <a:avLst/>
            <a:gdLst>
              <a:gd name="connsiteX0" fmla="*/ 0 w 402609"/>
              <a:gd name="connsiteY0" fmla="*/ 719363 h 719363"/>
              <a:gd name="connsiteX1" fmla="*/ 272955 w 402609"/>
              <a:gd name="connsiteY1" fmla="*/ 521470 h 719363"/>
              <a:gd name="connsiteX2" fmla="*/ 388961 w 402609"/>
              <a:gd name="connsiteY2" fmla="*/ 57446 h 719363"/>
              <a:gd name="connsiteX3" fmla="*/ 395785 w 402609"/>
              <a:gd name="connsiteY3" fmla="*/ 23327 h 719363"/>
              <a:gd name="connsiteX0-1" fmla="*/ 0 w 402609"/>
              <a:gd name="connsiteY0-2" fmla="*/ 719363 h 719363"/>
              <a:gd name="connsiteX1-3" fmla="*/ 365345 w 402609"/>
              <a:gd name="connsiteY1-4" fmla="*/ 511388 h 719363"/>
              <a:gd name="connsiteX2-5" fmla="*/ 388961 w 402609"/>
              <a:gd name="connsiteY2-6" fmla="*/ 57446 h 719363"/>
              <a:gd name="connsiteX3-7" fmla="*/ 395785 w 402609"/>
              <a:gd name="connsiteY3-8" fmla="*/ 23327 h 719363"/>
              <a:gd name="connsiteX0-9" fmla="*/ 0 w 402609"/>
              <a:gd name="connsiteY0-10" fmla="*/ 719363 h 719363"/>
              <a:gd name="connsiteX1-11" fmla="*/ 365345 w 402609"/>
              <a:gd name="connsiteY1-12" fmla="*/ 511388 h 719363"/>
              <a:gd name="connsiteX2-13" fmla="*/ 388961 w 402609"/>
              <a:gd name="connsiteY2-14" fmla="*/ 57446 h 719363"/>
              <a:gd name="connsiteX3-15" fmla="*/ 395785 w 402609"/>
              <a:gd name="connsiteY3-16" fmla="*/ 23327 h 719363"/>
              <a:gd name="connsiteX0-17" fmla="*/ 0 w 402609"/>
              <a:gd name="connsiteY0-18" fmla="*/ 719363 h 719363"/>
              <a:gd name="connsiteX1-19" fmla="*/ 238299 w 402609"/>
              <a:gd name="connsiteY1-20" fmla="*/ 647440 h 719363"/>
              <a:gd name="connsiteX2-21" fmla="*/ 365345 w 402609"/>
              <a:gd name="connsiteY2-22" fmla="*/ 511388 h 719363"/>
              <a:gd name="connsiteX3-23" fmla="*/ 388961 w 402609"/>
              <a:gd name="connsiteY3-24" fmla="*/ 57446 h 719363"/>
              <a:gd name="connsiteX4" fmla="*/ 395785 w 402609"/>
              <a:gd name="connsiteY4" fmla="*/ 23327 h 719363"/>
              <a:gd name="connsiteX0-25" fmla="*/ 0 w 402609"/>
              <a:gd name="connsiteY0-26" fmla="*/ 719363 h 719363"/>
              <a:gd name="connsiteX1-27" fmla="*/ 92715 w 402609"/>
              <a:gd name="connsiteY1-28" fmla="*/ 704571 h 719363"/>
              <a:gd name="connsiteX2-29" fmla="*/ 238299 w 402609"/>
              <a:gd name="connsiteY2-30" fmla="*/ 647440 h 719363"/>
              <a:gd name="connsiteX3-31" fmla="*/ 365345 w 402609"/>
              <a:gd name="connsiteY3-32" fmla="*/ 511388 h 719363"/>
              <a:gd name="connsiteX4-33" fmla="*/ 388961 w 402609"/>
              <a:gd name="connsiteY4-34" fmla="*/ 57446 h 719363"/>
              <a:gd name="connsiteX5" fmla="*/ 395785 w 402609"/>
              <a:gd name="connsiteY5" fmla="*/ 23327 h 719363"/>
              <a:gd name="connsiteX0-35" fmla="*/ 0 w 402609"/>
              <a:gd name="connsiteY0-36" fmla="*/ 719363 h 719363"/>
              <a:gd name="connsiteX1-37" fmla="*/ 92715 w 402609"/>
              <a:gd name="connsiteY1-38" fmla="*/ 704571 h 719363"/>
              <a:gd name="connsiteX2-39" fmla="*/ 196304 w 402609"/>
              <a:gd name="connsiteY2-40" fmla="*/ 650800 h 719363"/>
              <a:gd name="connsiteX3-41" fmla="*/ 238299 w 402609"/>
              <a:gd name="connsiteY3-42" fmla="*/ 647440 h 719363"/>
              <a:gd name="connsiteX4-43" fmla="*/ 365345 w 402609"/>
              <a:gd name="connsiteY4-44" fmla="*/ 511388 h 719363"/>
              <a:gd name="connsiteX5-45" fmla="*/ 388961 w 402609"/>
              <a:gd name="connsiteY5-46" fmla="*/ 57446 h 719363"/>
              <a:gd name="connsiteX6" fmla="*/ 395785 w 402609"/>
              <a:gd name="connsiteY6" fmla="*/ 23327 h 719363"/>
              <a:gd name="connsiteX0-47" fmla="*/ 0 w 402609"/>
              <a:gd name="connsiteY0-48" fmla="*/ 719363 h 719363"/>
              <a:gd name="connsiteX1-49" fmla="*/ 92715 w 402609"/>
              <a:gd name="connsiteY1-50" fmla="*/ 704571 h 719363"/>
              <a:gd name="connsiteX2-51" fmla="*/ 196304 w 402609"/>
              <a:gd name="connsiteY2-52" fmla="*/ 650800 h 719363"/>
              <a:gd name="connsiteX3-53" fmla="*/ 238299 w 402609"/>
              <a:gd name="connsiteY3-54" fmla="*/ 647440 h 719363"/>
              <a:gd name="connsiteX4-55" fmla="*/ 255097 w 402609"/>
              <a:gd name="connsiteY4-56" fmla="*/ 570144 h 719363"/>
              <a:gd name="connsiteX5-57" fmla="*/ 365345 w 402609"/>
              <a:gd name="connsiteY5-58" fmla="*/ 511388 h 719363"/>
              <a:gd name="connsiteX6-59" fmla="*/ 388961 w 402609"/>
              <a:gd name="connsiteY6-60" fmla="*/ 57446 h 719363"/>
              <a:gd name="connsiteX7" fmla="*/ 395785 w 402609"/>
              <a:gd name="connsiteY7" fmla="*/ 23327 h 719363"/>
              <a:gd name="connsiteX0-61" fmla="*/ 0 w 402609"/>
              <a:gd name="connsiteY0-62" fmla="*/ 719363 h 719363"/>
              <a:gd name="connsiteX1-63" fmla="*/ 92715 w 402609"/>
              <a:gd name="connsiteY1-64" fmla="*/ 704571 h 719363"/>
              <a:gd name="connsiteX2-65" fmla="*/ 196304 w 402609"/>
              <a:gd name="connsiteY2-66" fmla="*/ 650800 h 719363"/>
              <a:gd name="connsiteX3-67" fmla="*/ 224301 w 402609"/>
              <a:gd name="connsiteY3-68" fmla="*/ 617194 h 719363"/>
              <a:gd name="connsiteX4-69" fmla="*/ 255097 w 402609"/>
              <a:gd name="connsiteY4-70" fmla="*/ 570144 h 719363"/>
              <a:gd name="connsiteX5-71" fmla="*/ 365345 w 402609"/>
              <a:gd name="connsiteY5-72" fmla="*/ 511388 h 719363"/>
              <a:gd name="connsiteX6-73" fmla="*/ 388961 w 402609"/>
              <a:gd name="connsiteY6-74" fmla="*/ 57446 h 719363"/>
              <a:gd name="connsiteX7-75" fmla="*/ 395785 w 402609"/>
              <a:gd name="connsiteY7-76" fmla="*/ 23327 h 719363"/>
              <a:gd name="connsiteX0-77" fmla="*/ 0 w 402609"/>
              <a:gd name="connsiteY0-78" fmla="*/ 719363 h 719363"/>
              <a:gd name="connsiteX1-79" fmla="*/ 92715 w 402609"/>
              <a:gd name="connsiteY1-80" fmla="*/ 704571 h 719363"/>
              <a:gd name="connsiteX2-81" fmla="*/ 196304 w 402609"/>
              <a:gd name="connsiteY2-82" fmla="*/ 650800 h 719363"/>
              <a:gd name="connsiteX3-83" fmla="*/ 204703 w 402609"/>
              <a:gd name="connsiteY3-84" fmla="*/ 637358 h 719363"/>
              <a:gd name="connsiteX4-85" fmla="*/ 224301 w 402609"/>
              <a:gd name="connsiteY4-86" fmla="*/ 617194 h 719363"/>
              <a:gd name="connsiteX5-87" fmla="*/ 255097 w 402609"/>
              <a:gd name="connsiteY5-88" fmla="*/ 570144 h 719363"/>
              <a:gd name="connsiteX6-89" fmla="*/ 365345 w 402609"/>
              <a:gd name="connsiteY6-90" fmla="*/ 511388 h 719363"/>
              <a:gd name="connsiteX7-91" fmla="*/ 388961 w 402609"/>
              <a:gd name="connsiteY7-92" fmla="*/ 57446 h 719363"/>
              <a:gd name="connsiteX8" fmla="*/ 395785 w 402609"/>
              <a:gd name="connsiteY8" fmla="*/ 23327 h 719363"/>
              <a:gd name="connsiteX0-93" fmla="*/ 0 w 402609"/>
              <a:gd name="connsiteY0-94" fmla="*/ 719363 h 719363"/>
              <a:gd name="connsiteX1-95" fmla="*/ 92715 w 402609"/>
              <a:gd name="connsiteY1-96" fmla="*/ 704571 h 719363"/>
              <a:gd name="connsiteX2-97" fmla="*/ 196304 w 402609"/>
              <a:gd name="connsiteY2-98" fmla="*/ 650800 h 719363"/>
              <a:gd name="connsiteX3-99" fmla="*/ 204703 w 402609"/>
              <a:gd name="connsiteY3-100" fmla="*/ 637358 h 719363"/>
              <a:gd name="connsiteX4-101" fmla="*/ 224301 w 402609"/>
              <a:gd name="connsiteY4-102" fmla="*/ 617194 h 719363"/>
              <a:gd name="connsiteX5-103" fmla="*/ 255097 w 402609"/>
              <a:gd name="connsiteY5-104" fmla="*/ 570144 h 719363"/>
              <a:gd name="connsiteX6-105" fmla="*/ 291493 w 402609"/>
              <a:gd name="connsiteY6-106" fmla="*/ 506292 h 719363"/>
              <a:gd name="connsiteX7-107" fmla="*/ 365345 w 402609"/>
              <a:gd name="connsiteY7-108" fmla="*/ 511388 h 719363"/>
              <a:gd name="connsiteX8-109" fmla="*/ 388961 w 402609"/>
              <a:gd name="connsiteY8-110" fmla="*/ 57446 h 719363"/>
              <a:gd name="connsiteX9" fmla="*/ 395785 w 402609"/>
              <a:gd name="connsiteY9" fmla="*/ 23327 h 719363"/>
              <a:gd name="connsiteX0-111" fmla="*/ 0 w 402609"/>
              <a:gd name="connsiteY0-112" fmla="*/ 719363 h 719363"/>
              <a:gd name="connsiteX1-113" fmla="*/ 92715 w 402609"/>
              <a:gd name="connsiteY1-114" fmla="*/ 704571 h 719363"/>
              <a:gd name="connsiteX2-115" fmla="*/ 196304 w 402609"/>
              <a:gd name="connsiteY2-116" fmla="*/ 650800 h 719363"/>
              <a:gd name="connsiteX3-117" fmla="*/ 204703 w 402609"/>
              <a:gd name="connsiteY3-118" fmla="*/ 637358 h 719363"/>
              <a:gd name="connsiteX4-119" fmla="*/ 224301 w 402609"/>
              <a:gd name="connsiteY4-120" fmla="*/ 617194 h 719363"/>
              <a:gd name="connsiteX5-121" fmla="*/ 255097 w 402609"/>
              <a:gd name="connsiteY5-122" fmla="*/ 570144 h 719363"/>
              <a:gd name="connsiteX6-123" fmla="*/ 291493 w 402609"/>
              <a:gd name="connsiteY6-124" fmla="*/ 506292 h 719363"/>
              <a:gd name="connsiteX7-125" fmla="*/ 309351 w 402609"/>
              <a:gd name="connsiteY7-126" fmla="*/ 454257 h 719363"/>
              <a:gd name="connsiteX8-127" fmla="*/ 388961 w 402609"/>
              <a:gd name="connsiteY8-128" fmla="*/ 57446 h 719363"/>
              <a:gd name="connsiteX9-129" fmla="*/ 395785 w 402609"/>
              <a:gd name="connsiteY9-130" fmla="*/ 23327 h 719363"/>
              <a:gd name="connsiteX0-131" fmla="*/ 0 w 402609"/>
              <a:gd name="connsiteY0-132" fmla="*/ 719363 h 719363"/>
              <a:gd name="connsiteX1-133" fmla="*/ 92715 w 402609"/>
              <a:gd name="connsiteY1-134" fmla="*/ 704571 h 719363"/>
              <a:gd name="connsiteX2-135" fmla="*/ 196304 w 402609"/>
              <a:gd name="connsiteY2-136" fmla="*/ 650800 h 719363"/>
              <a:gd name="connsiteX3-137" fmla="*/ 204703 w 402609"/>
              <a:gd name="connsiteY3-138" fmla="*/ 637358 h 719363"/>
              <a:gd name="connsiteX4-139" fmla="*/ 224301 w 402609"/>
              <a:gd name="connsiteY4-140" fmla="*/ 617194 h 719363"/>
              <a:gd name="connsiteX5-141" fmla="*/ 255097 w 402609"/>
              <a:gd name="connsiteY5-142" fmla="*/ 570144 h 719363"/>
              <a:gd name="connsiteX6-143" fmla="*/ 291493 w 402609"/>
              <a:gd name="connsiteY6-144" fmla="*/ 506292 h 719363"/>
              <a:gd name="connsiteX7-145" fmla="*/ 309351 w 402609"/>
              <a:gd name="connsiteY7-146" fmla="*/ 454257 h 719363"/>
              <a:gd name="connsiteX8-147" fmla="*/ 325089 w 402609"/>
              <a:gd name="connsiteY8-148" fmla="*/ 304652 h 719363"/>
              <a:gd name="connsiteX9-149" fmla="*/ 388961 w 402609"/>
              <a:gd name="connsiteY9-150" fmla="*/ 57446 h 719363"/>
              <a:gd name="connsiteX10" fmla="*/ 395785 w 402609"/>
              <a:gd name="connsiteY10" fmla="*/ 23327 h 719363"/>
              <a:gd name="connsiteX0-151" fmla="*/ 0 w 402609"/>
              <a:gd name="connsiteY0-152" fmla="*/ 719363 h 719363"/>
              <a:gd name="connsiteX1-153" fmla="*/ 92715 w 402609"/>
              <a:gd name="connsiteY1-154" fmla="*/ 704571 h 719363"/>
              <a:gd name="connsiteX2-155" fmla="*/ 196304 w 402609"/>
              <a:gd name="connsiteY2-156" fmla="*/ 650800 h 719363"/>
              <a:gd name="connsiteX3-157" fmla="*/ 204703 w 402609"/>
              <a:gd name="connsiteY3-158" fmla="*/ 637358 h 719363"/>
              <a:gd name="connsiteX4-159" fmla="*/ 224301 w 402609"/>
              <a:gd name="connsiteY4-160" fmla="*/ 617194 h 719363"/>
              <a:gd name="connsiteX5-161" fmla="*/ 255097 w 402609"/>
              <a:gd name="connsiteY5-162" fmla="*/ 570144 h 719363"/>
              <a:gd name="connsiteX6-163" fmla="*/ 291493 w 402609"/>
              <a:gd name="connsiteY6-164" fmla="*/ 506292 h 719363"/>
              <a:gd name="connsiteX7-165" fmla="*/ 309351 w 402609"/>
              <a:gd name="connsiteY7-166" fmla="*/ 454257 h 719363"/>
              <a:gd name="connsiteX8-167" fmla="*/ 325089 w 402609"/>
              <a:gd name="connsiteY8-168" fmla="*/ 304652 h 719363"/>
              <a:gd name="connsiteX9-169" fmla="*/ 388961 w 402609"/>
              <a:gd name="connsiteY9-170" fmla="*/ 57446 h 719363"/>
              <a:gd name="connsiteX10-171" fmla="*/ 395785 w 402609"/>
              <a:gd name="connsiteY10-172" fmla="*/ 23327 h 719363"/>
              <a:gd name="connsiteX0-173" fmla="*/ 0 w 402609"/>
              <a:gd name="connsiteY0-174" fmla="*/ 719363 h 719363"/>
              <a:gd name="connsiteX1-175" fmla="*/ 92715 w 402609"/>
              <a:gd name="connsiteY1-176" fmla="*/ 704571 h 719363"/>
              <a:gd name="connsiteX2-177" fmla="*/ 196304 w 402609"/>
              <a:gd name="connsiteY2-178" fmla="*/ 650800 h 719363"/>
              <a:gd name="connsiteX3-179" fmla="*/ 204703 w 402609"/>
              <a:gd name="connsiteY3-180" fmla="*/ 637358 h 719363"/>
              <a:gd name="connsiteX4-181" fmla="*/ 224301 w 402609"/>
              <a:gd name="connsiteY4-182" fmla="*/ 617194 h 719363"/>
              <a:gd name="connsiteX5-183" fmla="*/ 255097 w 402609"/>
              <a:gd name="connsiteY5-184" fmla="*/ 570144 h 719363"/>
              <a:gd name="connsiteX6-185" fmla="*/ 291493 w 402609"/>
              <a:gd name="connsiteY6-186" fmla="*/ 506292 h 719363"/>
              <a:gd name="connsiteX7-187" fmla="*/ 309351 w 402609"/>
              <a:gd name="connsiteY7-188" fmla="*/ 454257 h 719363"/>
              <a:gd name="connsiteX8-189" fmla="*/ 325089 w 402609"/>
              <a:gd name="connsiteY8-190" fmla="*/ 304652 h 719363"/>
              <a:gd name="connsiteX9-191" fmla="*/ 388961 w 402609"/>
              <a:gd name="connsiteY9-192" fmla="*/ 57446 h 719363"/>
              <a:gd name="connsiteX10-193" fmla="*/ 395785 w 402609"/>
              <a:gd name="connsiteY10-194" fmla="*/ 23327 h 719363"/>
              <a:gd name="connsiteX0-195" fmla="*/ 0 w 402609"/>
              <a:gd name="connsiteY0-196" fmla="*/ 719363 h 719363"/>
              <a:gd name="connsiteX1-197" fmla="*/ 92715 w 402609"/>
              <a:gd name="connsiteY1-198" fmla="*/ 704571 h 719363"/>
              <a:gd name="connsiteX2-199" fmla="*/ 196304 w 402609"/>
              <a:gd name="connsiteY2-200" fmla="*/ 650800 h 719363"/>
              <a:gd name="connsiteX3-201" fmla="*/ 204703 w 402609"/>
              <a:gd name="connsiteY3-202" fmla="*/ 637358 h 719363"/>
              <a:gd name="connsiteX4-203" fmla="*/ 224301 w 402609"/>
              <a:gd name="connsiteY4-204" fmla="*/ 617194 h 719363"/>
              <a:gd name="connsiteX5-205" fmla="*/ 255097 w 402609"/>
              <a:gd name="connsiteY5-206" fmla="*/ 570144 h 719363"/>
              <a:gd name="connsiteX6-207" fmla="*/ 291493 w 402609"/>
              <a:gd name="connsiteY6-208" fmla="*/ 506292 h 719363"/>
              <a:gd name="connsiteX7-209" fmla="*/ 309351 w 402609"/>
              <a:gd name="connsiteY7-210" fmla="*/ 454257 h 719363"/>
              <a:gd name="connsiteX8-211" fmla="*/ 325089 w 402609"/>
              <a:gd name="connsiteY8-212" fmla="*/ 304652 h 719363"/>
              <a:gd name="connsiteX9-213" fmla="*/ 311091 w 402609"/>
              <a:gd name="connsiteY9-214" fmla="*/ 234077 h 719363"/>
              <a:gd name="connsiteX10-215" fmla="*/ 388961 w 402609"/>
              <a:gd name="connsiteY10-216" fmla="*/ 57446 h 719363"/>
              <a:gd name="connsiteX11" fmla="*/ 395785 w 402609"/>
              <a:gd name="connsiteY11" fmla="*/ 23327 h 719363"/>
              <a:gd name="connsiteX0-217" fmla="*/ 0 w 402609"/>
              <a:gd name="connsiteY0-218" fmla="*/ 719363 h 719363"/>
              <a:gd name="connsiteX1-219" fmla="*/ 92715 w 402609"/>
              <a:gd name="connsiteY1-220" fmla="*/ 704571 h 719363"/>
              <a:gd name="connsiteX2-221" fmla="*/ 196304 w 402609"/>
              <a:gd name="connsiteY2-222" fmla="*/ 650800 h 719363"/>
              <a:gd name="connsiteX3-223" fmla="*/ 204703 w 402609"/>
              <a:gd name="connsiteY3-224" fmla="*/ 637358 h 719363"/>
              <a:gd name="connsiteX4-225" fmla="*/ 224301 w 402609"/>
              <a:gd name="connsiteY4-226" fmla="*/ 617194 h 719363"/>
              <a:gd name="connsiteX5-227" fmla="*/ 255097 w 402609"/>
              <a:gd name="connsiteY5-228" fmla="*/ 570144 h 719363"/>
              <a:gd name="connsiteX6-229" fmla="*/ 291493 w 402609"/>
              <a:gd name="connsiteY6-230" fmla="*/ 506292 h 719363"/>
              <a:gd name="connsiteX7-231" fmla="*/ 309351 w 402609"/>
              <a:gd name="connsiteY7-232" fmla="*/ 454257 h 719363"/>
              <a:gd name="connsiteX8-233" fmla="*/ 325089 w 402609"/>
              <a:gd name="connsiteY8-234" fmla="*/ 304652 h 719363"/>
              <a:gd name="connsiteX9-235" fmla="*/ 313890 w 402609"/>
              <a:gd name="connsiteY9-236" fmla="*/ 250881 h 719363"/>
              <a:gd name="connsiteX10-237" fmla="*/ 311091 w 402609"/>
              <a:gd name="connsiteY10-238" fmla="*/ 234077 h 719363"/>
              <a:gd name="connsiteX11-239" fmla="*/ 388961 w 402609"/>
              <a:gd name="connsiteY11-240" fmla="*/ 57446 h 719363"/>
              <a:gd name="connsiteX12" fmla="*/ 395785 w 402609"/>
              <a:gd name="connsiteY12" fmla="*/ 23327 h 719363"/>
              <a:gd name="connsiteX0-241" fmla="*/ 0 w 402609"/>
              <a:gd name="connsiteY0-242" fmla="*/ 719363 h 719363"/>
              <a:gd name="connsiteX1-243" fmla="*/ 92715 w 402609"/>
              <a:gd name="connsiteY1-244" fmla="*/ 704571 h 719363"/>
              <a:gd name="connsiteX2-245" fmla="*/ 196304 w 402609"/>
              <a:gd name="connsiteY2-246" fmla="*/ 650800 h 719363"/>
              <a:gd name="connsiteX3-247" fmla="*/ 204703 w 402609"/>
              <a:gd name="connsiteY3-248" fmla="*/ 637358 h 719363"/>
              <a:gd name="connsiteX4-249" fmla="*/ 224301 w 402609"/>
              <a:gd name="connsiteY4-250" fmla="*/ 617194 h 719363"/>
              <a:gd name="connsiteX5-251" fmla="*/ 255097 w 402609"/>
              <a:gd name="connsiteY5-252" fmla="*/ 570144 h 719363"/>
              <a:gd name="connsiteX6-253" fmla="*/ 291493 w 402609"/>
              <a:gd name="connsiteY6-254" fmla="*/ 506292 h 719363"/>
              <a:gd name="connsiteX7-255" fmla="*/ 309351 w 402609"/>
              <a:gd name="connsiteY7-256" fmla="*/ 454257 h 719363"/>
              <a:gd name="connsiteX8-257" fmla="*/ 325089 w 402609"/>
              <a:gd name="connsiteY8-258" fmla="*/ 304652 h 719363"/>
              <a:gd name="connsiteX9-259" fmla="*/ 313890 w 402609"/>
              <a:gd name="connsiteY9-260" fmla="*/ 250881 h 719363"/>
              <a:gd name="connsiteX10-261" fmla="*/ 311091 w 402609"/>
              <a:gd name="connsiteY10-262" fmla="*/ 234077 h 719363"/>
              <a:gd name="connsiteX11-263" fmla="*/ 291493 w 402609"/>
              <a:gd name="connsiteY11-264" fmla="*/ 133258 h 719363"/>
              <a:gd name="connsiteX12-265" fmla="*/ 388961 w 402609"/>
              <a:gd name="connsiteY12-266" fmla="*/ 57446 h 719363"/>
              <a:gd name="connsiteX13" fmla="*/ 395785 w 402609"/>
              <a:gd name="connsiteY13" fmla="*/ 23327 h 719363"/>
              <a:gd name="connsiteX0-267" fmla="*/ 0 w 402609"/>
              <a:gd name="connsiteY0-268" fmla="*/ 719363 h 719363"/>
              <a:gd name="connsiteX1-269" fmla="*/ 92715 w 402609"/>
              <a:gd name="connsiteY1-270" fmla="*/ 704571 h 719363"/>
              <a:gd name="connsiteX2-271" fmla="*/ 196304 w 402609"/>
              <a:gd name="connsiteY2-272" fmla="*/ 650800 h 719363"/>
              <a:gd name="connsiteX3-273" fmla="*/ 204703 w 402609"/>
              <a:gd name="connsiteY3-274" fmla="*/ 637358 h 719363"/>
              <a:gd name="connsiteX4-275" fmla="*/ 224301 w 402609"/>
              <a:gd name="connsiteY4-276" fmla="*/ 617194 h 719363"/>
              <a:gd name="connsiteX5-277" fmla="*/ 255097 w 402609"/>
              <a:gd name="connsiteY5-278" fmla="*/ 570144 h 719363"/>
              <a:gd name="connsiteX6-279" fmla="*/ 291493 w 402609"/>
              <a:gd name="connsiteY6-280" fmla="*/ 506292 h 719363"/>
              <a:gd name="connsiteX7-281" fmla="*/ 309351 w 402609"/>
              <a:gd name="connsiteY7-282" fmla="*/ 454257 h 719363"/>
              <a:gd name="connsiteX8-283" fmla="*/ 325089 w 402609"/>
              <a:gd name="connsiteY8-284" fmla="*/ 304652 h 719363"/>
              <a:gd name="connsiteX9-285" fmla="*/ 313890 w 402609"/>
              <a:gd name="connsiteY9-286" fmla="*/ 250881 h 719363"/>
              <a:gd name="connsiteX10-287" fmla="*/ 311091 w 402609"/>
              <a:gd name="connsiteY10-288" fmla="*/ 234077 h 719363"/>
              <a:gd name="connsiteX11-289" fmla="*/ 291493 w 402609"/>
              <a:gd name="connsiteY11-290" fmla="*/ 133258 h 719363"/>
              <a:gd name="connsiteX12-291" fmla="*/ 388961 w 402609"/>
              <a:gd name="connsiteY12-292" fmla="*/ 57446 h 719363"/>
              <a:gd name="connsiteX13-293" fmla="*/ 395785 w 402609"/>
              <a:gd name="connsiteY13-294" fmla="*/ 23327 h 719363"/>
              <a:gd name="connsiteX0-295" fmla="*/ 0 w 402609"/>
              <a:gd name="connsiteY0-296" fmla="*/ 719363 h 719363"/>
              <a:gd name="connsiteX1-297" fmla="*/ 92715 w 402609"/>
              <a:gd name="connsiteY1-298" fmla="*/ 704571 h 719363"/>
              <a:gd name="connsiteX2-299" fmla="*/ 196304 w 402609"/>
              <a:gd name="connsiteY2-300" fmla="*/ 650800 h 719363"/>
              <a:gd name="connsiteX3-301" fmla="*/ 204703 w 402609"/>
              <a:gd name="connsiteY3-302" fmla="*/ 637358 h 719363"/>
              <a:gd name="connsiteX4-303" fmla="*/ 224301 w 402609"/>
              <a:gd name="connsiteY4-304" fmla="*/ 617194 h 719363"/>
              <a:gd name="connsiteX5-305" fmla="*/ 255097 w 402609"/>
              <a:gd name="connsiteY5-306" fmla="*/ 570144 h 719363"/>
              <a:gd name="connsiteX6-307" fmla="*/ 291493 w 402609"/>
              <a:gd name="connsiteY6-308" fmla="*/ 506292 h 719363"/>
              <a:gd name="connsiteX7-309" fmla="*/ 309351 w 402609"/>
              <a:gd name="connsiteY7-310" fmla="*/ 454257 h 719363"/>
              <a:gd name="connsiteX8-311" fmla="*/ 325089 w 402609"/>
              <a:gd name="connsiteY8-312" fmla="*/ 304652 h 719363"/>
              <a:gd name="connsiteX9-313" fmla="*/ 313890 w 402609"/>
              <a:gd name="connsiteY9-314" fmla="*/ 250881 h 719363"/>
              <a:gd name="connsiteX10-315" fmla="*/ 311091 w 402609"/>
              <a:gd name="connsiteY10-316" fmla="*/ 234077 h 719363"/>
              <a:gd name="connsiteX11-317" fmla="*/ 291493 w 402609"/>
              <a:gd name="connsiteY11-318" fmla="*/ 133258 h 719363"/>
              <a:gd name="connsiteX12-319" fmla="*/ 229900 w 402609"/>
              <a:gd name="connsiteY12-320" fmla="*/ 62684 h 719363"/>
              <a:gd name="connsiteX13-321" fmla="*/ 388961 w 402609"/>
              <a:gd name="connsiteY13-322" fmla="*/ 57446 h 719363"/>
              <a:gd name="connsiteX14" fmla="*/ 395785 w 402609"/>
              <a:gd name="connsiteY14" fmla="*/ 23327 h 719363"/>
              <a:gd name="connsiteX0-323" fmla="*/ 0 w 402609"/>
              <a:gd name="connsiteY0-324" fmla="*/ 719363 h 719363"/>
              <a:gd name="connsiteX1-325" fmla="*/ 92715 w 402609"/>
              <a:gd name="connsiteY1-326" fmla="*/ 704571 h 719363"/>
              <a:gd name="connsiteX2-327" fmla="*/ 196304 w 402609"/>
              <a:gd name="connsiteY2-328" fmla="*/ 650800 h 719363"/>
              <a:gd name="connsiteX3-329" fmla="*/ 204703 w 402609"/>
              <a:gd name="connsiteY3-330" fmla="*/ 637358 h 719363"/>
              <a:gd name="connsiteX4-331" fmla="*/ 224301 w 402609"/>
              <a:gd name="connsiteY4-332" fmla="*/ 617194 h 719363"/>
              <a:gd name="connsiteX5-333" fmla="*/ 255097 w 402609"/>
              <a:gd name="connsiteY5-334" fmla="*/ 570144 h 719363"/>
              <a:gd name="connsiteX6-335" fmla="*/ 291493 w 402609"/>
              <a:gd name="connsiteY6-336" fmla="*/ 506292 h 719363"/>
              <a:gd name="connsiteX7-337" fmla="*/ 309351 w 402609"/>
              <a:gd name="connsiteY7-338" fmla="*/ 454257 h 719363"/>
              <a:gd name="connsiteX8-339" fmla="*/ 325089 w 402609"/>
              <a:gd name="connsiteY8-340" fmla="*/ 304652 h 719363"/>
              <a:gd name="connsiteX9-341" fmla="*/ 313890 w 402609"/>
              <a:gd name="connsiteY9-342" fmla="*/ 250881 h 719363"/>
              <a:gd name="connsiteX10-343" fmla="*/ 311091 w 402609"/>
              <a:gd name="connsiteY10-344" fmla="*/ 234077 h 719363"/>
              <a:gd name="connsiteX11-345" fmla="*/ 266296 w 402609"/>
              <a:gd name="connsiteY11-346" fmla="*/ 123176 h 719363"/>
              <a:gd name="connsiteX12-347" fmla="*/ 229900 w 402609"/>
              <a:gd name="connsiteY12-348" fmla="*/ 62684 h 719363"/>
              <a:gd name="connsiteX13-349" fmla="*/ 388961 w 402609"/>
              <a:gd name="connsiteY13-350" fmla="*/ 57446 h 719363"/>
              <a:gd name="connsiteX14-351" fmla="*/ 395785 w 402609"/>
              <a:gd name="connsiteY14-352" fmla="*/ 23327 h 719363"/>
              <a:gd name="connsiteX0-353" fmla="*/ 0 w 402609"/>
              <a:gd name="connsiteY0-354" fmla="*/ 719363 h 719363"/>
              <a:gd name="connsiteX1-355" fmla="*/ 92715 w 402609"/>
              <a:gd name="connsiteY1-356" fmla="*/ 704571 h 719363"/>
              <a:gd name="connsiteX2-357" fmla="*/ 196304 w 402609"/>
              <a:gd name="connsiteY2-358" fmla="*/ 650800 h 719363"/>
              <a:gd name="connsiteX3-359" fmla="*/ 204703 w 402609"/>
              <a:gd name="connsiteY3-360" fmla="*/ 637358 h 719363"/>
              <a:gd name="connsiteX4-361" fmla="*/ 224301 w 402609"/>
              <a:gd name="connsiteY4-362" fmla="*/ 617194 h 719363"/>
              <a:gd name="connsiteX5-363" fmla="*/ 255097 w 402609"/>
              <a:gd name="connsiteY5-364" fmla="*/ 570144 h 719363"/>
              <a:gd name="connsiteX6-365" fmla="*/ 291493 w 402609"/>
              <a:gd name="connsiteY6-366" fmla="*/ 506292 h 719363"/>
              <a:gd name="connsiteX7-367" fmla="*/ 309351 w 402609"/>
              <a:gd name="connsiteY7-368" fmla="*/ 454257 h 719363"/>
              <a:gd name="connsiteX8-369" fmla="*/ 325089 w 402609"/>
              <a:gd name="connsiteY8-370" fmla="*/ 304652 h 719363"/>
              <a:gd name="connsiteX9-371" fmla="*/ 313890 w 402609"/>
              <a:gd name="connsiteY9-372" fmla="*/ 250881 h 719363"/>
              <a:gd name="connsiteX10-373" fmla="*/ 311091 w 402609"/>
              <a:gd name="connsiteY10-374" fmla="*/ 234077 h 719363"/>
              <a:gd name="connsiteX11-375" fmla="*/ 266296 w 402609"/>
              <a:gd name="connsiteY11-376" fmla="*/ 123176 h 719363"/>
              <a:gd name="connsiteX12-377" fmla="*/ 241099 w 402609"/>
              <a:gd name="connsiteY12-378" fmla="*/ 89569 h 719363"/>
              <a:gd name="connsiteX13-379" fmla="*/ 229900 w 402609"/>
              <a:gd name="connsiteY13-380" fmla="*/ 62684 h 719363"/>
              <a:gd name="connsiteX14-381" fmla="*/ 388961 w 402609"/>
              <a:gd name="connsiteY14-382" fmla="*/ 57446 h 719363"/>
              <a:gd name="connsiteX15" fmla="*/ 395785 w 402609"/>
              <a:gd name="connsiteY15" fmla="*/ 23327 h 719363"/>
              <a:gd name="connsiteX0-383" fmla="*/ 0 w 402609"/>
              <a:gd name="connsiteY0-384" fmla="*/ 719363 h 719363"/>
              <a:gd name="connsiteX1-385" fmla="*/ 92715 w 402609"/>
              <a:gd name="connsiteY1-386" fmla="*/ 704571 h 719363"/>
              <a:gd name="connsiteX2-387" fmla="*/ 196304 w 402609"/>
              <a:gd name="connsiteY2-388" fmla="*/ 650800 h 719363"/>
              <a:gd name="connsiteX3-389" fmla="*/ 204703 w 402609"/>
              <a:gd name="connsiteY3-390" fmla="*/ 637358 h 719363"/>
              <a:gd name="connsiteX4-391" fmla="*/ 224301 w 402609"/>
              <a:gd name="connsiteY4-392" fmla="*/ 617194 h 719363"/>
              <a:gd name="connsiteX5-393" fmla="*/ 255097 w 402609"/>
              <a:gd name="connsiteY5-394" fmla="*/ 570144 h 719363"/>
              <a:gd name="connsiteX6-395" fmla="*/ 291493 w 402609"/>
              <a:gd name="connsiteY6-396" fmla="*/ 506292 h 719363"/>
              <a:gd name="connsiteX7-397" fmla="*/ 309351 w 402609"/>
              <a:gd name="connsiteY7-398" fmla="*/ 454257 h 719363"/>
              <a:gd name="connsiteX8-399" fmla="*/ 325089 w 402609"/>
              <a:gd name="connsiteY8-400" fmla="*/ 304652 h 719363"/>
              <a:gd name="connsiteX9-401" fmla="*/ 313890 w 402609"/>
              <a:gd name="connsiteY9-402" fmla="*/ 250881 h 719363"/>
              <a:gd name="connsiteX10-403" fmla="*/ 311091 w 402609"/>
              <a:gd name="connsiteY10-404" fmla="*/ 234077 h 719363"/>
              <a:gd name="connsiteX11-405" fmla="*/ 266296 w 402609"/>
              <a:gd name="connsiteY11-406" fmla="*/ 113094 h 719363"/>
              <a:gd name="connsiteX12-407" fmla="*/ 241099 w 402609"/>
              <a:gd name="connsiteY12-408" fmla="*/ 89569 h 719363"/>
              <a:gd name="connsiteX13-409" fmla="*/ 229900 w 402609"/>
              <a:gd name="connsiteY13-410" fmla="*/ 62684 h 719363"/>
              <a:gd name="connsiteX14-411" fmla="*/ 388961 w 402609"/>
              <a:gd name="connsiteY14-412" fmla="*/ 57446 h 719363"/>
              <a:gd name="connsiteX15-413" fmla="*/ 395785 w 402609"/>
              <a:gd name="connsiteY15-414" fmla="*/ 23327 h 719363"/>
              <a:gd name="connsiteX0-415" fmla="*/ 0 w 395929"/>
              <a:gd name="connsiteY0-416" fmla="*/ 768543 h 768543"/>
              <a:gd name="connsiteX1-417" fmla="*/ 92715 w 395929"/>
              <a:gd name="connsiteY1-418" fmla="*/ 753751 h 768543"/>
              <a:gd name="connsiteX2-419" fmla="*/ 196304 w 395929"/>
              <a:gd name="connsiteY2-420" fmla="*/ 699980 h 768543"/>
              <a:gd name="connsiteX3-421" fmla="*/ 204703 w 395929"/>
              <a:gd name="connsiteY3-422" fmla="*/ 686538 h 768543"/>
              <a:gd name="connsiteX4-423" fmla="*/ 224301 w 395929"/>
              <a:gd name="connsiteY4-424" fmla="*/ 666374 h 768543"/>
              <a:gd name="connsiteX5-425" fmla="*/ 255097 w 395929"/>
              <a:gd name="connsiteY5-426" fmla="*/ 619324 h 768543"/>
              <a:gd name="connsiteX6-427" fmla="*/ 291493 w 395929"/>
              <a:gd name="connsiteY6-428" fmla="*/ 555472 h 768543"/>
              <a:gd name="connsiteX7-429" fmla="*/ 309351 w 395929"/>
              <a:gd name="connsiteY7-430" fmla="*/ 503437 h 768543"/>
              <a:gd name="connsiteX8-431" fmla="*/ 325089 w 395929"/>
              <a:gd name="connsiteY8-432" fmla="*/ 353832 h 768543"/>
              <a:gd name="connsiteX9-433" fmla="*/ 313890 w 395929"/>
              <a:gd name="connsiteY9-434" fmla="*/ 300061 h 768543"/>
              <a:gd name="connsiteX10-435" fmla="*/ 311091 w 395929"/>
              <a:gd name="connsiteY10-436" fmla="*/ 283257 h 768543"/>
              <a:gd name="connsiteX11-437" fmla="*/ 266296 w 395929"/>
              <a:gd name="connsiteY11-438" fmla="*/ 162274 h 768543"/>
              <a:gd name="connsiteX12-439" fmla="*/ 241099 w 395929"/>
              <a:gd name="connsiteY12-440" fmla="*/ 138749 h 768543"/>
              <a:gd name="connsiteX13-441" fmla="*/ 229900 w 395929"/>
              <a:gd name="connsiteY13-442" fmla="*/ 111864 h 768543"/>
              <a:gd name="connsiteX14-443" fmla="*/ 145388 w 395929"/>
              <a:gd name="connsiteY14-444" fmla="*/ 32692 h 768543"/>
              <a:gd name="connsiteX15-445" fmla="*/ 395785 w 395929"/>
              <a:gd name="connsiteY15-446" fmla="*/ 72507 h 768543"/>
              <a:gd name="connsiteX0-447" fmla="*/ 161352 w 486468"/>
              <a:gd name="connsiteY0-448" fmla="*/ 772253 h 772253"/>
              <a:gd name="connsiteX1-449" fmla="*/ 254067 w 486468"/>
              <a:gd name="connsiteY1-450" fmla="*/ 757461 h 772253"/>
              <a:gd name="connsiteX2-451" fmla="*/ 357656 w 486468"/>
              <a:gd name="connsiteY2-452" fmla="*/ 703690 h 772253"/>
              <a:gd name="connsiteX3-453" fmla="*/ 366055 w 486468"/>
              <a:gd name="connsiteY3-454" fmla="*/ 690248 h 772253"/>
              <a:gd name="connsiteX4-455" fmla="*/ 385653 w 486468"/>
              <a:gd name="connsiteY4-456" fmla="*/ 670084 h 772253"/>
              <a:gd name="connsiteX5-457" fmla="*/ 416449 w 486468"/>
              <a:gd name="connsiteY5-458" fmla="*/ 623034 h 772253"/>
              <a:gd name="connsiteX6-459" fmla="*/ 452845 w 486468"/>
              <a:gd name="connsiteY6-460" fmla="*/ 559182 h 772253"/>
              <a:gd name="connsiteX7-461" fmla="*/ 470703 w 486468"/>
              <a:gd name="connsiteY7-462" fmla="*/ 507147 h 772253"/>
              <a:gd name="connsiteX8-463" fmla="*/ 486441 w 486468"/>
              <a:gd name="connsiteY8-464" fmla="*/ 357542 h 772253"/>
              <a:gd name="connsiteX9-465" fmla="*/ 475242 w 486468"/>
              <a:gd name="connsiteY9-466" fmla="*/ 303771 h 772253"/>
              <a:gd name="connsiteX10-467" fmla="*/ 472443 w 486468"/>
              <a:gd name="connsiteY10-468" fmla="*/ 286967 h 772253"/>
              <a:gd name="connsiteX11-469" fmla="*/ 427648 w 486468"/>
              <a:gd name="connsiteY11-470" fmla="*/ 165984 h 772253"/>
              <a:gd name="connsiteX12-471" fmla="*/ 402451 w 486468"/>
              <a:gd name="connsiteY12-472" fmla="*/ 142459 h 772253"/>
              <a:gd name="connsiteX13-473" fmla="*/ 391252 w 486468"/>
              <a:gd name="connsiteY13-474" fmla="*/ 115574 h 772253"/>
              <a:gd name="connsiteX14-475" fmla="*/ 306740 w 486468"/>
              <a:gd name="connsiteY14-476" fmla="*/ 36402 h 772253"/>
              <a:gd name="connsiteX15-477" fmla="*/ 0 w 486468"/>
              <a:gd name="connsiteY15-478" fmla="*/ 59414 h 772253"/>
              <a:gd name="connsiteX0-479" fmla="*/ 161352 w 486468"/>
              <a:gd name="connsiteY0-480" fmla="*/ 758514 h 758514"/>
              <a:gd name="connsiteX1-481" fmla="*/ 254067 w 486468"/>
              <a:gd name="connsiteY1-482" fmla="*/ 743722 h 758514"/>
              <a:gd name="connsiteX2-483" fmla="*/ 357656 w 486468"/>
              <a:gd name="connsiteY2-484" fmla="*/ 689951 h 758514"/>
              <a:gd name="connsiteX3-485" fmla="*/ 366055 w 486468"/>
              <a:gd name="connsiteY3-486" fmla="*/ 676509 h 758514"/>
              <a:gd name="connsiteX4-487" fmla="*/ 385653 w 486468"/>
              <a:gd name="connsiteY4-488" fmla="*/ 656345 h 758514"/>
              <a:gd name="connsiteX5-489" fmla="*/ 416449 w 486468"/>
              <a:gd name="connsiteY5-490" fmla="*/ 609295 h 758514"/>
              <a:gd name="connsiteX6-491" fmla="*/ 452845 w 486468"/>
              <a:gd name="connsiteY6-492" fmla="*/ 545443 h 758514"/>
              <a:gd name="connsiteX7-493" fmla="*/ 470703 w 486468"/>
              <a:gd name="connsiteY7-494" fmla="*/ 493408 h 758514"/>
              <a:gd name="connsiteX8-495" fmla="*/ 486441 w 486468"/>
              <a:gd name="connsiteY8-496" fmla="*/ 343803 h 758514"/>
              <a:gd name="connsiteX9-497" fmla="*/ 475242 w 486468"/>
              <a:gd name="connsiteY9-498" fmla="*/ 290032 h 758514"/>
              <a:gd name="connsiteX10-499" fmla="*/ 472443 w 486468"/>
              <a:gd name="connsiteY10-500" fmla="*/ 273228 h 758514"/>
              <a:gd name="connsiteX11-501" fmla="*/ 427648 w 486468"/>
              <a:gd name="connsiteY11-502" fmla="*/ 152245 h 758514"/>
              <a:gd name="connsiteX12-503" fmla="*/ 402451 w 486468"/>
              <a:gd name="connsiteY12-504" fmla="*/ 128720 h 758514"/>
              <a:gd name="connsiteX13-505" fmla="*/ 391252 w 486468"/>
              <a:gd name="connsiteY13-506" fmla="*/ 101835 h 758514"/>
              <a:gd name="connsiteX14-507" fmla="*/ 306740 w 486468"/>
              <a:gd name="connsiteY14-508" fmla="*/ 22663 h 758514"/>
              <a:gd name="connsiteX15-509" fmla="*/ 226071 w 486468"/>
              <a:gd name="connsiteY15-510" fmla="*/ 1015 h 758514"/>
              <a:gd name="connsiteX16" fmla="*/ 0 w 486468"/>
              <a:gd name="connsiteY16" fmla="*/ 45675 h 758514"/>
              <a:gd name="connsiteX0-511" fmla="*/ 161352 w 486468"/>
              <a:gd name="connsiteY0-512" fmla="*/ 758222 h 758222"/>
              <a:gd name="connsiteX1-513" fmla="*/ 254067 w 486468"/>
              <a:gd name="connsiteY1-514" fmla="*/ 743430 h 758222"/>
              <a:gd name="connsiteX2-515" fmla="*/ 357656 w 486468"/>
              <a:gd name="connsiteY2-516" fmla="*/ 689659 h 758222"/>
              <a:gd name="connsiteX3-517" fmla="*/ 366055 w 486468"/>
              <a:gd name="connsiteY3-518" fmla="*/ 676217 h 758222"/>
              <a:gd name="connsiteX4-519" fmla="*/ 385653 w 486468"/>
              <a:gd name="connsiteY4-520" fmla="*/ 656053 h 758222"/>
              <a:gd name="connsiteX5-521" fmla="*/ 416449 w 486468"/>
              <a:gd name="connsiteY5-522" fmla="*/ 609003 h 758222"/>
              <a:gd name="connsiteX6-523" fmla="*/ 452845 w 486468"/>
              <a:gd name="connsiteY6-524" fmla="*/ 545151 h 758222"/>
              <a:gd name="connsiteX7-525" fmla="*/ 470703 w 486468"/>
              <a:gd name="connsiteY7-526" fmla="*/ 493116 h 758222"/>
              <a:gd name="connsiteX8-527" fmla="*/ 486441 w 486468"/>
              <a:gd name="connsiteY8-528" fmla="*/ 343511 h 758222"/>
              <a:gd name="connsiteX9-529" fmla="*/ 475242 w 486468"/>
              <a:gd name="connsiteY9-530" fmla="*/ 289740 h 758222"/>
              <a:gd name="connsiteX10-531" fmla="*/ 472443 w 486468"/>
              <a:gd name="connsiteY10-532" fmla="*/ 272936 h 758222"/>
              <a:gd name="connsiteX11-533" fmla="*/ 427648 w 486468"/>
              <a:gd name="connsiteY11-534" fmla="*/ 151953 h 758222"/>
              <a:gd name="connsiteX12-535" fmla="*/ 402451 w 486468"/>
              <a:gd name="connsiteY12-536" fmla="*/ 128428 h 758222"/>
              <a:gd name="connsiteX13-537" fmla="*/ 391252 w 486468"/>
              <a:gd name="connsiteY13-538" fmla="*/ 101543 h 758222"/>
              <a:gd name="connsiteX14-539" fmla="*/ 357656 w 486468"/>
              <a:gd name="connsiteY14-540" fmla="*/ 78018 h 758222"/>
              <a:gd name="connsiteX15-541" fmla="*/ 306740 w 486468"/>
              <a:gd name="connsiteY15-542" fmla="*/ 22371 h 758222"/>
              <a:gd name="connsiteX16-543" fmla="*/ 226071 w 486468"/>
              <a:gd name="connsiteY16-544" fmla="*/ 723 h 758222"/>
              <a:gd name="connsiteX17" fmla="*/ 0 w 486468"/>
              <a:gd name="connsiteY17" fmla="*/ 45383 h 758222"/>
              <a:gd name="connsiteX0-545" fmla="*/ 161352 w 486468"/>
              <a:gd name="connsiteY0-546" fmla="*/ 757999 h 757999"/>
              <a:gd name="connsiteX1-547" fmla="*/ 254067 w 486468"/>
              <a:gd name="connsiteY1-548" fmla="*/ 743207 h 757999"/>
              <a:gd name="connsiteX2-549" fmla="*/ 357656 w 486468"/>
              <a:gd name="connsiteY2-550" fmla="*/ 689436 h 757999"/>
              <a:gd name="connsiteX3-551" fmla="*/ 366055 w 486468"/>
              <a:gd name="connsiteY3-552" fmla="*/ 675994 h 757999"/>
              <a:gd name="connsiteX4-553" fmla="*/ 385653 w 486468"/>
              <a:gd name="connsiteY4-554" fmla="*/ 655830 h 757999"/>
              <a:gd name="connsiteX5-555" fmla="*/ 416449 w 486468"/>
              <a:gd name="connsiteY5-556" fmla="*/ 608780 h 757999"/>
              <a:gd name="connsiteX6-557" fmla="*/ 452845 w 486468"/>
              <a:gd name="connsiteY6-558" fmla="*/ 544928 h 757999"/>
              <a:gd name="connsiteX7-559" fmla="*/ 470703 w 486468"/>
              <a:gd name="connsiteY7-560" fmla="*/ 492893 h 757999"/>
              <a:gd name="connsiteX8-561" fmla="*/ 486441 w 486468"/>
              <a:gd name="connsiteY8-562" fmla="*/ 343288 h 757999"/>
              <a:gd name="connsiteX9-563" fmla="*/ 475242 w 486468"/>
              <a:gd name="connsiteY9-564" fmla="*/ 289517 h 757999"/>
              <a:gd name="connsiteX10-565" fmla="*/ 472443 w 486468"/>
              <a:gd name="connsiteY10-566" fmla="*/ 272713 h 757999"/>
              <a:gd name="connsiteX11-567" fmla="*/ 427648 w 486468"/>
              <a:gd name="connsiteY11-568" fmla="*/ 151730 h 757999"/>
              <a:gd name="connsiteX12-569" fmla="*/ 402451 w 486468"/>
              <a:gd name="connsiteY12-570" fmla="*/ 128205 h 757999"/>
              <a:gd name="connsiteX13-571" fmla="*/ 391252 w 486468"/>
              <a:gd name="connsiteY13-572" fmla="*/ 101320 h 757999"/>
              <a:gd name="connsiteX14-573" fmla="*/ 357656 w 486468"/>
              <a:gd name="connsiteY14-574" fmla="*/ 77795 h 757999"/>
              <a:gd name="connsiteX15-575" fmla="*/ 301662 w 486468"/>
              <a:gd name="connsiteY15-576" fmla="*/ 27385 h 757999"/>
              <a:gd name="connsiteX16-577" fmla="*/ 306740 w 486468"/>
              <a:gd name="connsiteY16-578" fmla="*/ 22148 h 757999"/>
              <a:gd name="connsiteX17-579" fmla="*/ 226071 w 486468"/>
              <a:gd name="connsiteY17-580" fmla="*/ 500 h 757999"/>
              <a:gd name="connsiteX18" fmla="*/ 0 w 486468"/>
              <a:gd name="connsiteY18" fmla="*/ 45160 h 757999"/>
              <a:gd name="connsiteX0-581" fmla="*/ 161352 w 486468"/>
              <a:gd name="connsiteY0-582" fmla="*/ 759227 h 759227"/>
              <a:gd name="connsiteX1-583" fmla="*/ 254067 w 486468"/>
              <a:gd name="connsiteY1-584" fmla="*/ 744435 h 759227"/>
              <a:gd name="connsiteX2-585" fmla="*/ 357656 w 486468"/>
              <a:gd name="connsiteY2-586" fmla="*/ 690664 h 759227"/>
              <a:gd name="connsiteX3-587" fmla="*/ 366055 w 486468"/>
              <a:gd name="connsiteY3-588" fmla="*/ 677222 h 759227"/>
              <a:gd name="connsiteX4-589" fmla="*/ 385653 w 486468"/>
              <a:gd name="connsiteY4-590" fmla="*/ 657058 h 759227"/>
              <a:gd name="connsiteX5-591" fmla="*/ 416449 w 486468"/>
              <a:gd name="connsiteY5-592" fmla="*/ 610008 h 759227"/>
              <a:gd name="connsiteX6-593" fmla="*/ 452845 w 486468"/>
              <a:gd name="connsiteY6-594" fmla="*/ 546156 h 759227"/>
              <a:gd name="connsiteX7-595" fmla="*/ 470703 w 486468"/>
              <a:gd name="connsiteY7-596" fmla="*/ 494121 h 759227"/>
              <a:gd name="connsiteX8-597" fmla="*/ 486441 w 486468"/>
              <a:gd name="connsiteY8-598" fmla="*/ 344516 h 759227"/>
              <a:gd name="connsiteX9-599" fmla="*/ 475242 w 486468"/>
              <a:gd name="connsiteY9-600" fmla="*/ 290745 h 759227"/>
              <a:gd name="connsiteX10-601" fmla="*/ 472443 w 486468"/>
              <a:gd name="connsiteY10-602" fmla="*/ 273941 h 759227"/>
              <a:gd name="connsiteX11-603" fmla="*/ 427648 w 486468"/>
              <a:gd name="connsiteY11-604" fmla="*/ 152958 h 759227"/>
              <a:gd name="connsiteX12-605" fmla="*/ 402451 w 486468"/>
              <a:gd name="connsiteY12-606" fmla="*/ 129433 h 759227"/>
              <a:gd name="connsiteX13-607" fmla="*/ 391252 w 486468"/>
              <a:gd name="connsiteY13-608" fmla="*/ 102548 h 759227"/>
              <a:gd name="connsiteX14-609" fmla="*/ 357656 w 486468"/>
              <a:gd name="connsiteY14-610" fmla="*/ 79023 h 759227"/>
              <a:gd name="connsiteX15-611" fmla="*/ 301662 w 486468"/>
              <a:gd name="connsiteY15-612" fmla="*/ 28613 h 759227"/>
              <a:gd name="connsiteX16-613" fmla="*/ 306740 w 486468"/>
              <a:gd name="connsiteY16-614" fmla="*/ 23376 h 759227"/>
              <a:gd name="connsiteX17-615" fmla="*/ 256867 w 486468"/>
              <a:gd name="connsiteY17-616" fmla="*/ 11809 h 759227"/>
              <a:gd name="connsiteX18-617" fmla="*/ 226071 w 486468"/>
              <a:gd name="connsiteY18-618" fmla="*/ 1728 h 759227"/>
              <a:gd name="connsiteX19" fmla="*/ 0 w 486468"/>
              <a:gd name="connsiteY19" fmla="*/ 46388 h 759227"/>
              <a:gd name="connsiteX0-619" fmla="*/ 161352 w 486468"/>
              <a:gd name="connsiteY0-620" fmla="*/ 759227 h 759227"/>
              <a:gd name="connsiteX1-621" fmla="*/ 254067 w 486468"/>
              <a:gd name="connsiteY1-622" fmla="*/ 744435 h 759227"/>
              <a:gd name="connsiteX2-623" fmla="*/ 357656 w 486468"/>
              <a:gd name="connsiteY2-624" fmla="*/ 690664 h 759227"/>
              <a:gd name="connsiteX3-625" fmla="*/ 366055 w 486468"/>
              <a:gd name="connsiteY3-626" fmla="*/ 677222 h 759227"/>
              <a:gd name="connsiteX4-627" fmla="*/ 385653 w 486468"/>
              <a:gd name="connsiteY4-628" fmla="*/ 657058 h 759227"/>
              <a:gd name="connsiteX5-629" fmla="*/ 416449 w 486468"/>
              <a:gd name="connsiteY5-630" fmla="*/ 610008 h 759227"/>
              <a:gd name="connsiteX6-631" fmla="*/ 452845 w 486468"/>
              <a:gd name="connsiteY6-632" fmla="*/ 546156 h 759227"/>
              <a:gd name="connsiteX7-633" fmla="*/ 470703 w 486468"/>
              <a:gd name="connsiteY7-634" fmla="*/ 494121 h 759227"/>
              <a:gd name="connsiteX8-635" fmla="*/ 486441 w 486468"/>
              <a:gd name="connsiteY8-636" fmla="*/ 344516 h 759227"/>
              <a:gd name="connsiteX9-637" fmla="*/ 475242 w 486468"/>
              <a:gd name="connsiteY9-638" fmla="*/ 290745 h 759227"/>
              <a:gd name="connsiteX10-639" fmla="*/ 472443 w 486468"/>
              <a:gd name="connsiteY10-640" fmla="*/ 273941 h 759227"/>
              <a:gd name="connsiteX11-641" fmla="*/ 427648 w 486468"/>
              <a:gd name="connsiteY11-642" fmla="*/ 152958 h 759227"/>
              <a:gd name="connsiteX12-643" fmla="*/ 402451 w 486468"/>
              <a:gd name="connsiteY12-644" fmla="*/ 129433 h 759227"/>
              <a:gd name="connsiteX13-645" fmla="*/ 391252 w 486468"/>
              <a:gd name="connsiteY13-646" fmla="*/ 102548 h 759227"/>
              <a:gd name="connsiteX14-647" fmla="*/ 357656 w 486468"/>
              <a:gd name="connsiteY14-648" fmla="*/ 79023 h 759227"/>
              <a:gd name="connsiteX15-649" fmla="*/ 301662 w 486468"/>
              <a:gd name="connsiteY15-650" fmla="*/ 28613 h 759227"/>
              <a:gd name="connsiteX16-651" fmla="*/ 306740 w 486468"/>
              <a:gd name="connsiteY16-652" fmla="*/ 23376 h 759227"/>
              <a:gd name="connsiteX17-653" fmla="*/ 256867 w 486468"/>
              <a:gd name="connsiteY17-654" fmla="*/ 11809 h 759227"/>
              <a:gd name="connsiteX18-655" fmla="*/ 217672 w 486468"/>
              <a:gd name="connsiteY18-656" fmla="*/ 1728 h 759227"/>
              <a:gd name="connsiteX19-657" fmla="*/ 0 w 486468"/>
              <a:gd name="connsiteY19-658" fmla="*/ 46388 h 759227"/>
              <a:gd name="connsiteX0-659" fmla="*/ 161352 w 486468"/>
              <a:gd name="connsiteY0-660" fmla="*/ 759227 h 759227"/>
              <a:gd name="connsiteX1-661" fmla="*/ 254067 w 486468"/>
              <a:gd name="connsiteY1-662" fmla="*/ 744435 h 759227"/>
              <a:gd name="connsiteX2-663" fmla="*/ 357656 w 486468"/>
              <a:gd name="connsiteY2-664" fmla="*/ 690664 h 759227"/>
              <a:gd name="connsiteX3-665" fmla="*/ 366055 w 486468"/>
              <a:gd name="connsiteY3-666" fmla="*/ 677222 h 759227"/>
              <a:gd name="connsiteX4-667" fmla="*/ 385653 w 486468"/>
              <a:gd name="connsiteY4-668" fmla="*/ 657058 h 759227"/>
              <a:gd name="connsiteX5-669" fmla="*/ 416449 w 486468"/>
              <a:gd name="connsiteY5-670" fmla="*/ 610008 h 759227"/>
              <a:gd name="connsiteX6-671" fmla="*/ 452845 w 486468"/>
              <a:gd name="connsiteY6-672" fmla="*/ 546156 h 759227"/>
              <a:gd name="connsiteX7-673" fmla="*/ 470703 w 486468"/>
              <a:gd name="connsiteY7-674" fmla="*/ 494121 h 759227"/>
              <a:gd name="connsiteX8-675" fmla="*/ 486441 w 486468"/>
              <a:gd name="connsiteY8-676" fmla="*/ 344516 h 759227"/>
              <a:gd name="connsiteX9-677" fmla="*/ 475242 w 486468"/>
              <a:gd name="connsiteY9-678" fmla="*/ 290745 h 759227"/>
              <a:gd name="connsiteX10-679" fmla="*/ 472443 w 486468"/>
              <a:gd name="connsiteY10-680" fmla="*/ 273941 h 759227"/>
              <a:gd name="connsiteX11-681" fmla="*/ 427648 w 486468"/>
              <a:gd name="connsiteY11-682" fmla="*/ 152958 h 759227"/>
              <a:gd name="connsiteX12-683" fmla="*/ 402451 w 486468"/>
              <a:gd name="connsiteY12-684" fmla="*/ 129433 h 759227"/>
              <a:gd name="connsiteX13-685" fmla="*/ 391252 w 486468"/>
              <a:gd name="connsiteY13-686" fmla="*/ 102548 h 759227"/>
              <a:gd name="connsiteX14-687" fmla="*/ 357656 w 486468"/>
              <a:gd name="connsiteY14-688" fmla="*/ 79023 h 759227"/>
              <a:gd name="connsiteX15-689" fmla="*/ 301662 w 486468"/>
              <a:gd name="connsiteY15-690" fmla="*/ 28613 h 759227"/>
              <a:gd name="connsiteX16-691" fmla="*/ 306740 w 486468"/>
              <a:gd name="connsiteY16-692" fmla="*/ 23376 h 759227"/>
              <a:gd name="connsiteX17-693" fmla="*/ 256867 w 486468"/>
              <a:gd name="connsiteY17-694" fmla="*/ 11809 h 759227"/>
              <a:gd name="connsiteX18-695" fmla="*/ 217672 w 486468"/>
              <a:gd name="connsiteY18-696" fmla="*/ 1728 h 759227"/>
              <a:gd name="connsiteX19-697" fmla="*/ 0 w 486468"/>
              <a:gd name="connsiteY19-698" fmla="*/ 46388 h 759227"/>
              <a:gd name="connsiteX0-699" fmla="*/ 161352 w 486468"/>
              <a:gd name="connsiteY0-700" fmla="*/ 757611 h 757611"/>
              <a:gd name="connsiteX1-701" fmla="*/ 254067 w 486468"/>
              <a:gd name="connsiteY1-702" fmla="*/ 742819 h 757611"/>
              <a:gd name="connsiteX2-703" fmla="*/ 357656 w 486468"/>
              <a:gd name="connsiteY2-704" fmla="*/ 689048 h 757611"/>
              <a:gd name="connsiteX3-705" fmla="*/ 366055 w 486468"/>
              <a:gd name="connsiteY3-706" fmla="*/ 675606 h 757611"/>
              <a:gd name="connsiteX4-707" fmla="*/ 385653 w 486468"/>
              <a:gd name="connsiteY4-708" fmla="*/ 655442 h 757611"/>
              <a:gd name="connsiteX5-709" fmla="*/ 416449 w 486468"/>
              <a:gd name="connsiteY5-710" fmla="*/ 608392 h 757611"/>
              <a:gd name="connsiteX6-711" fmla="*/ 452845 w 486468"/>
              <a:gd name="connsiteY6-712" fmla="*/ 544540 h 757611"/>
              <a:gd name="connsiteX7-713" fmla="*/ 470703 w 486468"/>
              <a:gd name="connsiteY7-714" fmla="*/ 492505 h 757611"/>
              <a:gd name="connsiteX8-715" fmla="*/ 486441 w 486468"/>
              <a:gd name="connsiteY8-716" fmla="*/ 342900 h 757611"/>
              <a:gd name="connsiteX9-717" fmla="*/ 475242 w 486468"/>
              <a:gd name="connsiteY9-718" fmla="*/ 289129 h 757611"/>
              <a:gd name="connsiteX10-719" fmla="*/ 472443 w 486468"/>
              <a:gd name="connsiteY10-720" fmla="*/ 272325 h 757611"/>
              <a:gd name="connsiteX11-721" fmla="*/ 427648 w 486468"/>
              <a:gd name="connsiteY11-722" fmla="*/ 151342 h 757611"/>
              <a:gd name="connsiteX12-723" fmla="*/ 402451 w 486468"/>
              <a:gd name="connsiteY12-724" fmla="*/ 127817 h 757611"/>
              <a:gd name="connsiteX13-725" fmla="*/ 391252 w 486468"/>
              <a:gd name="connsiteY13-726" fmla="*/ 100932 h 757611"/>
              <a:gd name="connsiteX14-727" fmla="*/ 357656 w 486468"/>
              <a:gd name="connsiteY14-728" fmla="*/ 77407 h 757611"/>
              <a:gd name="connsiteX15-729" fmla="*/ 301662 w 486468"/>
              <a:gd name="connsiteY15-730" fmla="*/ 26997 h 757611"/>
              <a:gd name="connsiteX16-731" fmla="*/ 306740 w 486468"/>
              <a:gd name="connsiteY16-732" fmla="*/ 21760 h 757611"/>
              <a:gd name="connsiteX17-733" fmla="*/ 256867 w 486468"/>
              <a:gd name="connsiteY17-734" fmla="*/ 10193 h 757611"/>
              <a:gd name="connsiteX18-735" fmla="*/ 217672 w 486468"/>
              <a:gd name="connsiteY18-736" fmla="*/ 112 h 757611"/>
              <a:gd name="connsiteX19-737" fmla="*/ 97285 w 486468"/>
              <a:gd name="connsiteY19-738" fmla="*/ 6832 h 757611"/>
              <a:gd name="connsiteX20" fmla="*/ 0 w 486468"/>
              <a:gd name="connsiteY20" fmla="*/ 44772 h 757611"/>
              <a:gd name="connsiteX0-739" fmla="*/ 161352 w 486468"/>
              <a:gd name="connsiteY0-740" fmla="*/ 760429 h 760429"/>
              <a:gd name="connsiteX1-741" fmla="*/ 254067 w 486468"/>
              <a:gd name="connsiteY1-742" fmla="*/ 745637 h 760429"/>
              <a:gd name="connsiteX2-743" fmla="*/ 357656 w 486468"/>
              <a:gd name="connsiteY2-744" fmla="*/ 691866 h 760429"/>
              <a:gd name="connsiteX3-745" fmla="*/ 366055 w 486468"/>
              <a:gd name="connsiteY3-746" fmla="*/ 678424 h 760429"/>
              <a:gd name="connsiteX4-747" fmla="*/ 385653 w 486468"/>
              <a:gd name="connsiteY4-748" fmla="*/ 658260 h 760429"/>
              <a:gd name="connsiteX5-749" fmla="*/ 416449 w 486468"/>
              <a:gd name="connsiteY5-750" fmla="*/ 611210 h 760429"/>
              <a:gd name="connsiteX6-751" fmla="*/ 452845 w 486468"/>
              <a:gd name="connsiteY6-752" fmla="*/ 547358 h 760429"/>
              <a:gd name="connsiteX7-753" fmla="*/ 470703 w 486468"/>
              <a:gd name="connsiteY7-754" fmla="*/ 495323 h 760429"/>
              <a:gd name="connsiteX8-755" fmla="*/ 486441 w 486468"/>
              <a:gd name="connsiteY8-756" fmla="*/ 345718 h 760429"/>
              <a:gd name="connsiteX9-757" fmla="*/ 475242 w 486468"/>
              <a:gd name="connsiteY9-758" fmla="*/ 291947 h 760429"/>
              <a:gd name="connsiteX10-759" fmla="*/ 472443 w 486468"/>
              <a:gd name="connsiteY10-760" fmla="*/ 275143 h 760429"/>
              <a:gd name="connsiteX11-761" fmla="*/ 427648 w 486468"/>
              <a:gd name="connsiteY11-762" fmla="*/ 154160 h 760429"/>
              <a:gd name="connsiteX12-763" fmla="*/ 402451 w 486468"/>
              <a:gd name="connsiteY12-764" fmla="*/ 130635 h 760429"/>
              <a:gd name="connsiteX13-765" fmla="*/ 391252 w 486468"/>
              <a:gd name="connsiteY13-766" fmla="*/ 103750 h 760429"/>
              <a:gd name="connsiteX14-767" fmla="*/ 357656 w 486468"/>
              <a:gd name="connsiteY14-768" fmla="*/ 80225 h 760429"/>
              <a:gd name="connsiteX15-769" fmla="*/ 301662 w 486468"/>
              <a:gd name="connsiteY15-770" fmla="*/ 29815 h 760429"/>
              <a:gd name="connsiteX16-771" fmla="*/ 306740 w 486468"/>
              <a:gd name="connsiteY16-772" fmla="*/ 24578 h 760429"/>
              <a:gd name="connsiteX17-773" fmla="*/ 256867 w 486468"/>
              <a:gd name="connsiteY17-774" fmla="*/ 13011 h 760429"/>
              <a:gd name="connsiteX18-775" fmla="*/ 217672 w 486468"/>
              <a:gd name="connsiteY18-776" fmla="*/ 2930 h 760429"/>
              <a:gd name="connsiteX19-777" fmla="*/ 97285 w 486468"/>
              <a:gd name="connsiteY19-778" fmla="*/ 9650 h 760429"/>
              <a:gd name="connsiteX20-779" fmla="*/ 0 w 486468"/>
              <a:gd name="connsiteY20-780" fmla="*/ 47590 h 760429"/>
              <a:gd name="connsiteX0-781" fmla="*/ 161352 w 486468"/>
              <a:gd name="connsiteY0-782" fmla="*/ 760429 h 760429"/>
              <a:gd name="connsiteX1-783" fmla="*/ 254067 w 486468"/>
              <a:gd name="connsiteY1-784" fmla="*/ 745637 h 760429"/>
              <a:gd name="connsiteX2-785" fmla="*/ 357656 w 486468"/>
              <a:gd name="connsiteY2-786" fmla="*/ 688039 h 760429"/>
              <a:gd name="connsiteX3-787" fmla="*/ 366055 w 486468"/>
              <a:gd name="connsiteY3-788" fmla="*/ 678424 h 760429"/>
              <a:gd name="connsiteX4-789" fmla="*/ 385653 w 486468"/>
              <a:gd name="connsiteY4-790" fmla="*/ 658260 h 760429"/>
              <a:gd name="connsiteX5-791" fmla="*/ 416449 w 486468"/>
              <a:gd name="connsiteY5-792" fmla="*/ 611210 h 760429"/>
              <a:gd name="connsiteX6-793" fmla="*/ 452845 w 486468"/>
              <a:gd name="connsiteY6-794" fmla="*/ 547358 h 760429"/>
              <a:gd name="connsiteX7-795" fmla="*/ 470703 w 486468"/>
              <a:gd name="connsiteY7-796" fmla="*/ 495323 h 760429"/>
              <a:gd name="connsiteX8-797" fmla="*/ 486441 w 486468"/>
              <a:gd name="connsiteY8-798" fmla="*/ 345718 h 760429"/>
              <a:gd name="connsiteX9-799" fmla="*/ 475242 w 486468"/>
              <a:gd name="connsiteY9-800" fmla="*/ 291947 h 760429"/>
              <a:gd name="connsiteX10-801" fmla="*/ 472443 w 486468"/>
              <a:gd name="connsiteY10-802" fmla="*/ 275143 h 760429"/>
              <a:gd name="connsiteX11-803" fmla="*/ 427648 w 486468"/>
              <a:gd name="connsiteY11-804" fmla="*/ 154160 h 760429"/>
              <a:gd name="connsiteX12-805" fmla="*/ 402451 w 486468"/>
              <a:gd name="connsiteY12-806" fmla="*/ 130635 h 760429"/>
              <a:gd name="connsiteX13-807" fmla="*/ 391252 w 486468"/>
              <a:gd name="connsiteY13-808" fmla="*/ 103750 h 760429"/>
              <a:gd name="connsiteX14-809" fmla="*/ 357656 w 486468"/>
              <a:gd name="connsiteY14-810" fmla="*/ 80225 h 760429"/>
              <a:gd name="connsiteX15-811" fmla="*/ 301662 w 486468"/>
              <a:gd name="connsiteY15-812" fmla="*/ 29815 h 760429"/>
              <a:gd name="connsiteX16-813" fmla="*/ 306740 w 486468"/>
              <a:gd name="connsiteY16-814" fmla="*/ 24578 h 760429"/>
              <a:gd name="connsiteX17-815" fmla="*/ 256867 w 486468"/>
              <a:gd name="connsiteY17-816" fmla="*/ 13011 h 760429"/>
              <a:gd name="connsiteX18-817" fmla="*/ 217672 w 486468"/>
              <a:gd name="connsiteY18-818" fmla="*/ 2930 h 760429"/>
              <a:gd name="connsiteX19-819" fmla="*/ 97285 w 486468"/>
              <a:gd name="connsiteY19-820" fmla="*/ 9650 h 760429"/>
              <a:gd name="connsiteX20-821" fmla="*/ 0 w 486468"/>
              <a:gd name="connsiteY20-822" fmla="*/ 47590 h 760429"/>
              <a:gd name="connsiteX0-823" fmla="*/ 161352 w 486468"/>
              <a:gd name="connsiteY0-824" fmla="*/ 760429 h 760429"/>
              <a:gd name="connsiteX1-825" fmla="*/ 254067 w 486468"/>
              <a:gd name="connsiteY1-826" fmla="*/ 745637 h 760429"/>
              <a:gd name="connsiteX2-827" fmla="*/ 357656 w 486468"/>
              <a:gd name="connsiteY2-828" fmla="*/ 688039 h 760429"/>
              <a:gd name="connsiteX3-829" fmla="*/ 362867 w 486468"/>
              <a:gd name="connsiteY3-830" fmla="*/ 672684 h 760429"/>
              <a:gd name="connsiteX4-831" fmla="*/ 385653 w 486468"/>
              <a:gd name="connsiteY4-832" fmla="*/ 658260 h 760429"/>
              <a:gd name="connsiteX5-833" fmla="*/ 416449 w 486468"/>
              <a:gd name="connsiteY5-834" fmla="*/ 611210 h 760429"/>
              <a:gd name="connsiteX6-835" fmla="*/ 452845 w 486468"/>
              <a:gd name="connsiteY6-836" fmla="*/ 547358 h 760429"/>
              <a:gd name="connsiteX7-837" fmla="*/ 470703 w 486468"/>
              <a:gd name="connsiteY7-838" fmla="*/ 495323 h 760429"/>
              <a:gd name="connsiteX8-839" fmla="*/ 486441 w 486468"/>
              <a:gd name="connsiteY8-840" fmla="*/ 345718 h 760429"/>
              <a:gd name="connsiteX9-841" fmla="*/ 475242 w 486468"/>
              <a:gd name="connsiteY9-842" fmla="*/ 291947 h 760429"/>
              <a:gd name="connsiteX10-843" fmla="*/ 472443 w 486468"/>
              <a:gd name="connsiteY10-844" fmla="*/ 275143 h 760429"/>
              <a:gd name="connsiteX11-845" fmla="*/ 427648 w 486468"/>
              <a:gd name="connsiteY11-846" fmla="*/ 154160 h 760429"/>
              <a:gd name="connsiteX12-847" fmla="*/ 402451 w 486468"/>
              <a:gd name="connsiteY12-848" fmla="*/ 130635 h 760429"/>
              <a:gd name="connsiteX13-849" fmla="*/ 391252 w 486468"/>
              <a:gd name="connsiteY13-850" fmla="*/ 103750 h 760429"/>
              <a:gd name="connsiteX14-851" fmla="*/ 357656 w 486468"/>
              <a:gd name="connsiteY14-852" fmla="*/ 80225 h 760429"/>
              <a:gd name="connsiteX15-853" fmla="*/ 301662 w 486468"/>
              <a:gd name="connsiteY15-854" fmla="*/ 29815 h 760429"/>
              <a:gd name="connsiteX16-855" fmla="*/ 306740 w 486468"/>
              <a:gd name="connsiteY16-856" fmla="*/ 24578 h 760429"/>
              <a:gd name="connsiteX17-857" fmla="*/ 256867 w 486468"/>
              <a:gd name="connsiteY17-858" fmla="*/ 13011 h 760429"/>
              <a:gd name="connsiteX18-859" fmla="*/ 217672 w 486468"/>
              <a:gd name="connsiteY18-860" fmla="*/ 2930 h 760429"/>
              <a:gd name="connsiteX19-861" fmla="*/ 97285 w 486468"/>
              <a:gd name="connsiteY19-862" fmla="*/ 9650 h 760429"/>
              <a:gd name="connsiteX20-863" fmla="*/ 0 w 486468"/>
              <a:gd name="connsiteY20-864" fmla="*/ 47590 h 760429"/>
              <a:gd name="connsiteX0-865" fmla="*/ 161352 w 486468"/>
              <a:gd name="connsiteY0-866" fmla="*/ 760429 h 760429"/>
              <a:gd name="connsiteX1-867" fmla="*/ 254067 w 486468"/>
              <a:gd name="connsiteY1-868" fmla="*/ 745637 h 760429"/>
              <a:gd name="connsiteX2-869" fmla="*/ 354468 w 486468"/>
              <a:gd name="connsiteY2-870" fmla="*/ 688039 h 760429"/>
              <a:gd name="connsiteX3-871" fmla="*/ 362867 w 486468"/>
              <a:gd name="connsiteY3-872" fmla="*/ 672684 h 760429"/>
              <a:gd name="connsiteX4-873" fmla="*/ 385653 w 486468"/>
              <a:gd name="connsiteY4-874" fmla="*/ 658260 h 760429"/>
              <a:gd name="connsiteX5-875" fmla="*/ 416449 w 486468"/>
              <a:gd name="connsiteY5-876" fmla="*/ 611210 h 760429"/>
              <a:gd name="connsiteX6-877" fmla="*/ 452845 w 486468"/>
              <a:gd name="connsiteY6-878" fmla="*/ 547358 h 760429"/>
              <a:gd name="connsiteX7-879" fmla="*/ 470703 w 486468"/>
              <a:gd name="connsiteY7-880" fmla="*/ 495323 h 760429"/>
              <a:gd name="connsiteX8-881" fmla="*/ 486441 w 486468"/>
              <a:gd name="connsiteY8-882" fmla="*/ 345718 h 760429"/>
              <a:gd name="connsiteX9-883" fmla="*/ 475242 w 486468"/>
              <a:gd name="connsiteY9-884" fmla="*/ 291947 h 760429"/>
              <a:gd name="connsiteX10-885" fmla="*/ 472443 w 486468"/>
              <a:gd name="connsiteY10-886" fmla="*/ 275143 h 760429"/>
              <a:gd name="connsiteX11-887" fmla="*/ 427648 w 486468"/>
              <a:gd name="connsiteY11-888" fmla="*/ 154160 h 760429"/>
              <a:gd name="connsiteX12-889" fmla="*/ 402451 w 486468"/>
              <a:gd name="connsiteY12-890" fmla="*/ 130635 h 760429"/>
              <a:gd name="connsiteX13-891" fmla="*/ 391252 w 486468"/>
              <a:gd name="connsiteY13-892" fmla="*/ 103750 h 760429"/>
              <a:gd name="connsiteX14-893" fmla="*/ 357656 w 486468"/>
              <a:gd name="connsiteY14-894" fmla="*/ 80225 h 760429"/>
              <a:gd name="connsiteX15-895" fmla="*/ 301662 w 486468"/>
              <a:gd name="connsiteY15-896" fmla="*/ 29815 h 760429"/>
              <a:gd name="connsiteX16-897" fmla="*/ 306740 w 486468"/>
              <a:gd name="connsiteY16-898" fmla="*/ 24578 h 760429"/>
              <a:gd name="connsiteX17-899" fmla="*/ 256867 w 486468"/>
              <a:gd name="connsiteY17-900" fmla="*/ 13011 h 760429"/>
              <a:gd name="connsiteX18-901" fmla="*/ 217672 w 486468"/>
              <a:gd name="connsiteY18-902" fmla="*/ 2930 h 760429"/>
              <a:gd name="connsiteX19-903" fmla="*/ 97285 w 486468"/>
              <a:gd name="connsiteY19-904" fmla="*/ 9650 h 760429"/>
              <a:gd name="connsiteX20-905" fmla="*/ 0 w 486468"/>
              <a:gd name="connsiteY20-906" fmla="*/ 47590 h 760429"/>
              <a:gd name="connsiteX0-907" fmla="*/ 161352 w 486468"/>
              <a:gd name="connsiteY0-908" fmla="*/ 760429 h 760429"/>
              <a:gd name="connsiteX1-909" fmla="*/ 254067 w 486468"/>
              <a:gd name="connsiteY1-910" fmla="*/ 745637 h 760429"/>
              <a:gd name="connsiteX2-911" fmla="*/ 354468 w 486468"/>
              <a:gd name="connsiteY2-912" fmla="*/ 688039 h 760429"/>
              <a:gd name="connsiteX3-913" fmla="*/ 362867 w 486468"/>
              <a:gd name="connsiteY3-914" fmla="*/ 672684 h 760429"/>
              <a:gd name="connsiteX4-915" fmla="*/ 385653 w 486468"/>
              <a:gd name="connsiteY4-916" fmla="*/ 658260 h 760429"/>
              <a:gd name="connsiteX5-917" fmla="*/ 402437 w 486468"/>
              <a:gd name="connsiteY5-918" fmla="*/ 635167 h 760429"/>
              <a:gd name="connsiteX6-919" fmla="*/ 416449 w 486468"/>
              <a:gd name="connsiteY6-920" fmla="*/ 611210 h 760429"/>
              <a:gd name="connsiteX7-921" fmla="*/ 452845 w 486468"/>
              <a:gd name="connsiteY7-922" fmla="*/ 547358 h 760429"/>
              <a:gd name="connsiteX8-923" fmla="*/ 470703 w 486468"/>
              <a:gd name="connsiteY8-924" fmla="*/ 495323 h 760429"/>
              <a:gd name="connsiteX9-925" fmla="*/ 486441 w 486468"/>
              <a:gd name="connsiteY9-926" fmla="*/ 345718 h 760429"/>
              <a:gd name="connsiteX10-927" fmla="*/ 475242 w 486468"/>
              <a:gd name="connsiteY10-928" fmla="*/ 291947 h 760429"/>
              <a:gd name="connsiteX11-929" fmla="*/ 472443 w 486468"/>
              <a:gd name="connsiteY11-930" fmla="*/ 275143 h 760429"/>
              <a:gd name="connsiteX12-931" fmla="*/ 427648 w 486468"/>
              <a:gd name="connsiteY12-932" fmla="*/ 154160 h 760429"/>
              <a:gd name="connsiteX13-933" fmla="*/ 402451 w 486468"/>
              <a:gd name="connsiteY13-934" fmla="*/ 130635 h 760429"/>
              <a:gd name="connsiteX14-935" fmla="*/ 391252 w 486468"/>
              <a:gd name="connsiteY14-936" fmla="*/ 103750 h 760429"/>
              <a:gd name="connsiteX15-937" fmla="*/ 357656 w 486468"/>
              <a:gd name="connsiteY15-938" fmla="*/ 80225 h 760429"/>
              <a:gd name="connsiteX16-939" fmla="*/ 301662 w 486468"/>
              <a:gd name="connsiteY16-940" fmla="*/ 29815 h 760429"/>
              <a:gd name="connsiteX17-941" fmla="*/ 306740 w 486468"/>
              <a:gd name="connsiteY17-942" fmla="*/ 24578 h 760429"/>
              <a:gd name="connsiteX18-943" fmla="*/ 256867 w 486468"/>
              <a:gd name="connsiteY18-944" fmla="*/ 13011 h 760429"/>
              <a:gd name="connsiteX19-945" fmla="*/ 217672 w 486468"/>
              <a:gd name="connsiteY19-946" fmla="*/ 2930 h 760429"/>
              <a:gd name="connsiteX20-947" fmla="*/ 97285 w 486468"/>
              <a:gd name="connsiteY20-948" fmla="*/ 9650 h 760429"/>
              <a:gd name="connsiteX21" fmla="*/ 0 w 486468"/>
              <a:gd name="connsiteY21" fmla="*/ 47590 h 760429"/>
              <a:gd name="connsiteX0-949" fmla="*/ 161352 w 486468"/>
              <a:gd name="connsiteY0-950" fmla="*/ 760429 h 760429"/>
              <a:gd name="connsiteX1-951" fmla="*/ 254067 w 486468"/>
              <a:gd name="connsiteY1-952" fmla="*/ 745637 h 760429"/>
              <a:gd name="connsiteX2-953" fmla="*/ 354468 w 486468"/>
              <a:gd name="connsiteY2-954" fmla="*/ 688039 h 760429"/>
              <a:gd name="connsiteX3-955" fmla="*/ 362867 w 486468"/>
              <a:gd name="connsiteY3-956" fmla="*/ 672684 h 760429"/>
              <a:gd name="connsiteX4-957" fmla="*/ 385653 w 486468"/>
              <a:gd name="connsiteY4-958" fmla="*/ 658260 h 760429"/>
              <a:gd name="connsiteX5-959" fmla="*/ 402437 w 486468"/>
              <a:gd name="connsiteY5-960" fmla="*/ 635167 h 760429"/>
              <a:gd name="connsiteX6-961" fmla="*/ 416449 w 486468"/>
              <a:gd name="connsiteY6-962" fmla="*/ 611210 h 760429"/>
              <a:gd name="connsiteX7-963" fmla="*/ 452845 w 486468"/>
              <a:gd name="connsiteY7-964" fmla="*/ 547358 h 760429"/>
              <a:gd name="connsiteX8-965" fmla="*/ 470703 w 486468"/>
              <a:gd name="connsiteY8-966" fmla="*/ 495323 h 760429"/>
              <a:gd name="connsiteX9-967" fmla="*/ 486441 w 486468"/>
              <a:gd name="connsiteY9-968" fmla="*/ 345718 h 760429"/>
              <a:gd name="connsiteX10-969" fmla="*/ 475242 w 486468"/>
              <a:gd name="connsiteY10-970" fmla="*/ 291947 h 760429"/>
              <a:gd name="connsiteX11-971" fmla="*/ 472443 w 486468"/>
              <a:gd name="connsiteY11-972" fmla="*/ 275143 h 760429"/>
              <a:gd name="connsiteX12-973" fmla="*/ 427648 w 486468"/>
              <a:gd name="connsiteY12-974" fmla="*/ 154160 h 760429"/>
              <a:gd name="connsiteX13-975" fmla="*/ 402451 w 486468"/>
              <a:gd name="connsiteY13-976" fmla="*/ 130635 h 760429"/>
              <a:gd name="connsiteX14-977" fmla="*/ 391252 w 486468"/>
              <a:gd name="connsiteY14-978" fmla="*/ 103750 h 760429"/>
              <a:gd name="connsiteX15-979" fmla="*/ 357656 w 486468"/>
              <a:gd name="connsiteY15-980" fmla="*/ 80225 h 760429"/>
              <a:gd name="connsiteX16-981" fmla="*/ 301662 w 486468"/>
              <a:gd name="connsiteY16-982" fmla="*/ 29815 h 760429"/>
              <a:gd name="connsiteX17-983" fmla="*/ 306740 w 486468"/>
              <a:gd name="connsiteY17-984" fmla="*/ 24578 h 760429"/>
              <a:gd name="connsiteX18-985" fmla="*/ 256867 w 486468"/>
              <a:gd name="connsiteY18-986" fmla="*/ 13011 h 760429"/>
              <a:gd name="connsiteX19-987" fmla="*/ 217672 w 486468"/>
              <a:gd name="connsiteY19-988" fmla="*/ 2930 h 760429"/>
              <a:gd name="connsiteX20-989" fmla="*/ 97285 w 486468"/>
              <a:gd name="connsiteY20-990" fmla="*/ 9650 h 760429"/>
              <a:gd name="connsiteX21-991" fmla="*/ 0 w 486468"/>
              <a:gd name="connsiteY21-992" fmla="*/ 47590 h 760429"/>
              <a:gd name="connsiteX0-993" fmla="*/ 161352 w 486468"/>
              <a:gd name="connsiteY0-994" fmla="*/ 760429 h 760429"/>
              <a:gd name="connsiteX1-995" fmla="*/ 254067 w 486468"/>
              <a:gd name="connsiteY1-996" fmla="*/ 745637 h 760429"/>
              <a:gd name="connsiteX2-997" fmla="*/ 354468 w 486468"/>
              <a:gd name="connsiteY2-998" fmla="*/ 688039 h 760429"/>
              <a:gd name="connsiteX3-999" fmla="*/ 362867 w 486468"/>
              <a:gd name="connsiteY3-1000" fmla="*/ 672684 h 760429"/>
              <a:gd name="connsiteX4-1001" fmla="*/ 385653 w 486468"/>
              <a:gd name="connsiteY4-1002" fmla="*/ 658260 h 760429"/>
              <a:gd name="connsiteX5-1003" fmla="*/ 402437 w 486468"/>
              <a:gd name="connsiteY5-1004" fmla="*/ 635167 h 760429"/>
              <a:gd name="connsiteX6-1005" fmla="*/ 416449 w 486468"/>
              <a:gd name="connsiteY6-1006" fmla="*/ 611210 h 760429"/>
              <a:gd name="connsiteX7-1007" fmla="*/ 434315 w 486468"/>
              <a:gd name="connsiteY7-1008" fmla="*/ 587336 h 760429"/>
              <a:gd name="connsiteX8-1009" fmla="*/ 452845 w 486468"/>
              <a:gd name="connsiteY8-1010" fmla="*/ 547358 h 760429"/>
              <a:gd name="connsiteX9-1011" fmla="*/ 470703 w 486468"/>
              <a:gd name="connsiteY9-1012" fmla="*/ 495323 h 760429"/>
              <a:gd name="connsiteX10-1013" fmla="*/ 486441 w 486468"/>
              <a:gd name="connsiteY10-1014" fmla="*/ 345718 h 760429"/>
              <a:gd name="connsiteX11-1015" fmla="*/ 475242 w 486468"/>
              <a:gd name="connsiteY11-1016" fmla="*/ 291947 h 760429"/>
              <a:gd name="connsiteX12-1017" fmla="*/ 472443 w 486468"/>
              <a:gd name="connsiteY12-1018" fmla="*/ 275143 h 760429"/>
              <a:gd name="connsiteX13-1019" fmla="*/ 427648 w 486468"/>
              <a:gd name="connsiteY13-1020" fmla="*/ 154160 h 760429"/>
              <a:gd name="connsiteX14-1021" fmla="*/ 402451 w 486468"/>
              <a:gd name="connsiteY14-1022" fmla="*/ 130635 h 760429"/>
              <a:gd name="connsiteX15-1023" fmla="*/ 391252 w 486468"/>
              <a:gd name="connsiteY15-1024" fmla="*/ 103750 h 760429"/>
              <a:gd name="connsiteX16-1025" fmla="*/ 357656 w 486468"/>
              <a:gd name="connsiteY16-1026" fmla="*/ 80225 h 760429"/>
              <a:gd name="connsiteX17-1027" fmla="*/ 301662 w 486468"/>
              <a:gd name="connsiteY17-1028" fmla="*/ 29815 h 760429"/>
              <a:gd name="connsiteX18-1029" fmla="*/ 306740 w 486468"/>
              <a:gd name="connsiteY18-1030" fmla="*/ 24578 h 760429"/>
              <a:gd name="connsiteX19-1031" fmla="*/ 256867 w 486468"/>
              <a:gd name="connsiteY19-1032" fmla="*/ 13011 h 760429"/>
              <a:gd name="connsiteX20-1033" fmla="*/ 217672 w 486468"/>
              <a:gd name="connsiteY20-1034" fmla="*/ 2930 h 760429"/>
              <a:gd name="connsiteX21-1035" fmla="*/ 97285 w 486468"/>
              <a:gd name="connsiteY21-1036" fmla="*/ 9650 h 760429"/>
              <a:gd name="connsiteX22" fmla="*/ 0 w 486468"/>
              <a:gd name="connsiteY22" fmla="*/ 47590 h 760429"/>
              <a:gd name="connsiteX0-1037" fmla="*/ 161352 w 486468"/>
              <a:gd name="connsiteY0-1038" fmla="*/ 760429 h 760429"/>
              <a:gd name="connsiteX1-1039" fmla="*/ 254067 w 486468"/>
              <a:gd name="connsiteY1-1040" fmla="*/ 745637 h 760429"/>
              <a:gd name="connsiteX2-1041" fmla="*/ 354468 w 486468"/>
              <a:gd name="connsiteY2-1042" fmla="*/ 688039 h 760429"/>
              <a:gd name="connsiteX3-1043" fmla="*/ 362867 w 486468"/>
              <a:gd name="connsiteY3-1044" fmla="*/ 672684 h 760429"/>
              <a:gd name="connsiteX4-1045" fmla="*/ 385653 w 486468"/>
              <a:gd name="connsiteY4-1046" fmla="*/ 658260 h 760429"/>
              <a:gd name="connsiteX5-1047" fmla="*/ 402437 w 486468"/>
              <a:gd name="connsiteY5-1048" fmla="*/ 635167 h 760429"/>
              <a:gd name="connsiteX6-1049" fmla="*/ 416449 w 486468"/>
              <a:gd name="connsiteY6-1050" fmla="*/ 611210 h 760429"/>
              <a:gd name="connsiteX7-1051" fmla="*/ 434315 w 486468"/>
              <a:gd name="connsiteY7-1052" fmla="*/ 587336 h 760429"/>
              <a:gd name="connsiteX8-1053" fmla="*/ 452845 w 486468"/>
              <a:gd name="connsiteY8-1054" fmla="*/ 547358 h 760429"/>
              <a:gd name="connsiteX9-1055" fmla="*/ 470703 w 486468"/>
              <a:gd name="connsiteY9-1056" fmla="*/ 495323 h 760429"/>
              <a:gd name="connsiteX10-1057" fmla="*/ 486441 w 486468"/>
              <a:gd name="connsiteY10-1058" fmla="*/ 345718 h 760429"/>
              <a:gd name="connsiteX11-1059" fmla="*/ 475242 w 486468"/>
              <a:gd name="connsiteY11-1060" fmla="*/ 291947 h 760429"/>
              <a:gd name="connsiteX12-1061" fmla="*/ 472443 w 486468"/>
              <a:gd name="connsiteY12-1062" fmla="*/ 275143 h 760429"/>
              <a:gd name="connsiteX13-1063" fmla="*/ 427648 w 486468"/>
              <a:gd name="connsiteY13-1064" fmla="*/ 154160 h 760429"/>
              <a:gd name="connsiteX14-1065" fmla="*/ 408827 w 486468"/>
              <a:gd name="connsiteY14-1066" fmla="*/ 128722 h 760429"/>
              <a:gd name="connsiteX15-1067" fmla="*/ 391252 w 486468"/>
              <a:gd name="connsiteY15-1068" fmla="*/ 103750 h 760429"/>
              <a:gd name="connsiteX16-1069" fmla="*/ 357656 w 486468"/>
              <a:gd name="connsiteY16-1070" fmla="*/ 80225 h 760429"/>
              <a:gd name="connsiteX17-1071" fmla="*/ 301662 w 486468"/>
              <a:gd name="connsiteY17-1072" fmla="*/ 29815 h 760429"/>
              <a:gd name="connsiteX18-1073" fmla="*/ 306740 w 486468"/>
              <a:gd name="connsiteY18-1074" fmla="*/ 24578 h 760429"/>
              <a:gd name="connsiteX19-1075" fmla="*/ 256867 w 486468"/>
              <a:gd name="connsiteY19-1076" fmla="*/ 13011 h 760429"/>
              <a:gd name="connsiteX20-1077" fmla="*/ 217672 w 486468"/>
              <a:gd name="connsiteY20-1078" fmla="*/ 2930 h 760429"/>
              <a:gd name="connsiteX21-1079" fmla="*/ 97285 w 486468"/>
              <a:gd name="connsiteY21-1080" fmla="*/ 9650 h 760429"/>
              <a:gd name="connsiteX22-1081" fmla="*/ 0 w 486468"/>
              <a:gd name="connsiteY22-1082" fmla="*/ 47590 h 760429"/>
              <a:gd name="connsiteX0-1083" fmla="*/ 161352 w 486468"/>
              <a:gd name="connsiteY0-1084" fmla="*/ 760429 h 760429"/>
              <a:gd name="connsiteX1-1085" fmla="*/ 254067 w 486468"/>
              <a:gd name="connsiteY1-1086" fmla="*/ 745637 h 760429"/>
              <a:gd name="connsiteX2-1087" fmla="*/ 354468 w 486468"/>
              <a:gd name="connsiteY2-1088" fmla="*/ 688039 h 760429"/>
              <a:gd name="connsiteX3-1089" fmla="*/ 362867 w 486468"/>
              <a:gd name="connsiteY3-1090" fmla="*/ 672684 h 760429"/>
              <a:gd name="connsiteX4-1091" fmla="*/ 385653 w 486468"/>
              <a:gd name="connsiteY4-1092" fmla="*/ 658260 h 760429"/>
              <a:gd name="connsiteX5-1093" fmla="*/ 402437 w 486468"/>
              <a:gd name="connsiteY5-1094" fmla="*/ 635167 h 760429"/>
              <a:gd name="connsiteX6-1095" fmla="*/ 416449 w 486468"/>
              <a:gd name="connsiteY6-1096" fmla="*/ 611210 h 760429"/>
              <a:gd name="connsiteX7-1097" fmla="*/ 434315 w 486468"/>
              <a:gd name="connsiteY7-1098" fmla="*/ 587336 h 760429"/>
              <a:gd name="connsiteX8-1099" fmla="*/ 452845 w 486468"/>
              <a:gd name="connsiteY8-1100" fmla="*/ 547358 h 760429"/>
              <a:gd name="connsiteX9-1101" fmla="*/ 470703 w 486468"/>
              <a:gd name="connsiteY9-1102" fmla="*/ 495323 h 760429"/>
              <a:gd name="connsiteX10-1103" fmla="*/ 486441 w 486468"/>
              <a:gd name="connsiteY10-1104" fmla="*/ 345718 h 760429"/>
              <a:gd name="connsiteX11-1105" fmla="*/ 475242 w 486468"/>
              <a:gd name="connsiteY11-1106" fmla="*/ 291947 h 760429"/>
              <a:gd name="connsiteX12-1107" fmla="*/ 472443 w 486468"/>
              <a:gd name="connsiteY12-1108" fmla="*/ 275143 h 760429"/>
              <a:gd name="connsiteX13-1109" fmla="*/ 427648 w 486468"/>
              <a:gd name="connsiteY13-1110" fmla="*/ 154160 h 760429"/>
              <a:gd name="connsiteX14-1111" fmla="*/ 408827 w 486468"/>
              <a:gd name="connsiteY14-1112" fmla="*/ 128722 h 760429"/>
              <a:gd name="connsiteX15-1113" fmla="*/ 391252 w 486468"/>
              <a:gd name="connsiteY15-1114" fmla="*/ 103750 h 760429"/>
              <a:gd name="connsiteX16-1115" fmla="*/ 362438 w 486468"/>
              <a:gd name="connsiteY16-1116" fmla="*/ 76399 h 760429"/>
              <a:gd name="connsiteX17-1117" fmla="*/ 301662 w 486468"/>
              <a:gd name="connsiteY17-1118" fmla="*/ 29815 h 760429"/>
              <a:gd name="connsiteX18-1119" fmla="*/ 306740 w 486468"/>
              <a:gd name="connsiteY18-1120" fmla="*/ 24578 h 760429"/>
              <a:gd name="connsiteX19-1121" fmla="*/ 256867 w 486468"/>
              <a:gd name="connsiteY19-1122" fmla="*/ 13011 h 760429"/>
              <a:gd name="connsiteX20-1123" fmla="*/ 217672 w 486468"/>
              <a:gd name="connsiteY20-1124" fmla="*/ 2930 h 760429"/>
              <a:gd name="connsiteX21-1125" fmla="*/ 97285 w 486468"/>
              <a:gd name="connsiteY21-1126" fmla="*/ 9650 h 760429"/>
              <a:gd name="connsiteX22-1127" fmla="*/ 0 w 486468"/>
              <a:gd name="connsiteY22-1128" fmla="*/ 47590 h 760429"/>
              <a:gd name="connsiteX0-1129" fmla="*/ 161352 w 486468"/>
              <a:gd name="connsiteY0-1130" fmla="*/ 760429 h 760429"/>
              <a:gd name="connsiteX1-1131" fmla="*/ 254067 w 486468"/>
              <a:gd name="connsiteY1-1132" fmla="*/ 745637 h 760429"/>
              <a:gd name="connsiteX2-1133" fmla="*/ 354468 w 486468"/>
              <a:gd name="connsiteY2-1134" fmla="*/ 688039 h 760429"/>
              <a:gd name="connsiteX3-1135" fmla="*/ 362867 w 486468"/>
              <a:gd name="connsiteY3-1136" fmla="*/ 672684 h 760429"/>
              <a:gd name="connsiteX4-1137" fmla="*/ 385653 w 486468"/>
              <a:gd name="connsiteY4-1138" fmla="*/ 658260 h 760429"/>
              <a:gd name="connsiteX5-1139" fmla="*/ 402437 w 486468"/>
              <a:gd name="connsiteY5-1140" fmla="*/ 635167 h 760429"/>
              <a:gd name="connsiteX6-1141" fmla="*/ 416449 w 486468"/>
              <a:gd name="connsiteY6-1142" fmla="*/ 611210 h 760429"/>
              <a:gd name="connsiteX7-1143" fmla="*/ 434315 w 486468"/>
              <a:gd name="connsiteY7-1144" fmla="*/ 587336 h 760429"/>
              <a:gd name="connsiteX8-1145" fmla="*/ 452845 w 486468"/>
              <a:gd name="connsiteY8-1146" fmla="*/ 547358 h 760429"/>
              <a:gd name="connsiteX9-1147" fmla="*/ 470703 w 486468"/>
              <a:gd name="connsiteY9-1148" fmla="*/ 495323 h 760429"/>
              <a:gd name="connsiteX10-1149" fmla="*/ 486441 w 486468"/>
              <a:gd name="connsiteY10-1150" fmla="*/ 345718 h 760429"/>
              <a:gd name="connsiteX11-1151" fmla="*/ 475242 w 486468"/>
              <a:gd name="connsiteY11-1152" fmla="*/ 291947 h 760429"/>
              <a:gd name="connsiteX12-1153" fmla="*/ 472443 w 486468"/>
              <a:gd name="connsiteY12-1154" fmla="*/ 275143 h 760429"/>
              <a:gd name="connsiteX13-1155" fmla="*/ 427648 w 486468"/>
              <a:gd name="connsiteY13-1156" fmla="*/ 154160 h 760429"/>
              <a:gd name="connsiteX14-1157" fmla="*/ 408827 w 486468"/>
              <a:gd name="connsiteY14-1158" fmla="*/ 128722 h 760429"/>
              <a:gd name="connsiteX15-1159" fmla="*/ 391252 w 486468"/>
              <a:gd name="connsiteY15-1160" fmla="*/ 103750 h 760429"/>
              <a:gd name="connsiteX16-1161" fmla="*/ 362438 w 486468"/>
              <a:gd name="connsiteY16-1162" fmla="*/ 76399 h 760429"/>
              <a:gd name="connsiteX17-1163" fmla="*/ 301662 w 486468"/>
              <a:gd name="connsiteY17-1164" fmla="*/ 29815 h 760429"/>
              <a:gd name="connsiteX18-1165" fmla="*/ 309928 w 486468"/>
              <a:gd name="connsiteY18-1166" fmla="*/ 34144 h 760429"/>
              <a:gd name="connsiteX19-1167" fmla="*/ 256867 w 486468"/>
              <a:gd name="connsiteY19-1168" fmla="*/ 13011 h 760429"/>
              <a:gd name="connsiteX20-1169" fmla="*/ 217672 w 486468"/>
              <a:gd name="connsiteY20-1170" fmla="*/ 2930 h 760429"/>
              <a:gd name="connsiteX21-1171" fmla="*/ 97285 w 486468"/>
              <a:gd name="connsiteY21-1172" fmla="*/ 9650 h 760429"/>
              <a:gd name="connsiteX22-1173" fmla="*/ 0 w 486468"/>
              <a:gd name="connsiteY22-1174" fmla="*/ 47590 h 760429"/>
              <a:gd name="connsiteX0-1175" fmla="*/ 161352 w 486468"/>
              <a:gd name="connsiteY0-1176" fmla="*/ 766304 h 766304"/>
              <a:gd name="connsiteX1-1177" fmla="*/ 254067 w 486468"/>
              <a:gd name="connsiteY1-1178" fmla="*/ 751512 h 766304"/>
              <a:gd name="connsiteX2-1179" fmla="*/ 354468 w 486468"/>
              <a:gd name="connsiteY2-1180" fmla="*/ 693914 h 766304"/>
              <a:gd name="connsiteX3-1181" fmla="*/ 362867 w 486468"/>
              <a:gd name="connsiteY3-1182" fmla="*/ 678559 h 766304"/>
              <a:gd name="connsiteX4-1183" fmla="*/ 385653 w 486468"/>
              <a:gd name="connsiteY4-1184" fmla="*/ 664135 h 766304"/>
              <a:gd name="connsiteX5-1185" fmla="*/ 402437 w 486468"/>
              <a:gd name="connsiteY5-1186" fmla="*/ 641042 h 766304"/>
              <a:gd name="connsiteX6-1187" fmla="*/ 416449 w 486468"/>
              <a:gd name="connsiteY6-1188" fmla="*/ 617085 h 766304"/>
              <a:gd name="connsiteX7-1189" fmla="*/ 434315 w 486468"/>
              <a:gd name="connsiteY7-1190" fmla="*/ 593211 h 766304"/>
              <a:gd name="connsiteX8-1191" fmla="*/ 452845 w 486468"/>
              <a:gd name="connsiteY8-1192" fmla="*/ 553233 h 766304"/>
              <a:gd name="connsiteX9-1193" fmla="*/ 470703 w 486468"/>
              <a:gd name="connsiteY9-1194" fmla="*/ 501198 h 766304"/>
              <a:gd name="connsiteX10-1195" fmla="*/ 486441 w 486468"/>
              <a:gd name="connsiteY10-1196" fmla="*/ 351593 h 766304"/>
              <a:gd name="connsiteX11-1197" fmla="*/ 475242 w 486468"/>
              <a:gd name="connsiteY11-1198" fmla="*/ 297822 h 766304"/>
              <a:gd name="connsiteX12-1199" fmla="*/ 472443 w 486468"/>
              <a:gd name="connsiteY12-1200" fmla="*/ 281018 h 766304"/>
              <a:gd name="connsiteX13-1201" fmla="*/ 427648 w 486468"/>
              <a:gd name="connsiteY13-1202" fmla="*/ 160035 h 766304"/>
              <a:gd name="connsiteX14-1203" fmla="*/ 408827 w 486468"/>
              <a:gd name="connsiteY14-1204" fmla="*/ 134597 h 766304"/>
              <a:gd name="connsiteX15-1205" fmla="*/ 391252 w 486468"/>
              <a:gd name="connsiteY15-1206" fmla="*/ 109625 h 766304"/>
              <a:gd name="connsiteX16-1207" fmla="*/ 362438 w 486468"/>
              <a:gd name="connsiteY16-1208" fmla="*/ 82274 h 766304"/>
              <a:gd name="connsiteX17-1209" fmla="*/ 301662 w 486468"/>
              <a:gd name="connsiteY17-1210" fmla="*/ 35690 h 766304"/>
              <a:gd name="connsiteX18-1211" fmla="*/ 309928 w 486468"/>
              <a:gd name="connsiteY18-1212" fmla="*/ 40019 h 766304"/>
              <a:gd name="connsiteX19-1213" fmla="*/ 256867 w 486468"/>
              <a:gd name="connsiteY19-1214" fmla="*/ 18886 h 766304"/>
              <a:gd name="connsiteX20-1215" fmla="*/ 217672 w 486468"/>
              <a:gd name="connsiteY20-1216" fmla="*/ 8805 h 766304"/>
              <a:gd name="connsiteX21-1217" fmla="*/ 164949 w 486468"/>
              <a:gd name="connsiteY21-1218" fmla="*/ 103 h 766304"/>
              <a:gd name="connsiteX22-1219" fmla="*/ 97285 w 486468"/>
              <a:gd name="connsiteY22-1220" fmla="*/ 15525 h 766304"/>
              <a:gd name="connsiteX23" fmla="*/ 0 w 486468"/>
              <a:gd name="connsiteY23" fmla="*/ 53465 h 766304"/>
              <a:gd name="connsiteX0-1221" fmla="*/ 161352 w 486468"/>
              <a:gd name="connsiteY0-1222" fmla="*/ 766304 h 766304"/>
              <a:gd name="connsiteX1-1223" fmla="*/ 254067 w 486468"/>
              <a:gd name="connsiteY1-1224" fmla="*/ 751512 h 766304"/>
              <a:gd name="connsiteX2-1225" fmla="*/ 354468 w 486468"/>
              <a:gd name="connsiteY2-1226" fmla="*/ 693914 h 766304"/>
              <a:gd name="connsiteX3-1227" fmla="*/ 362867 w 486468"/>
              <a:gd name="connsiteY3-1228" fmla="*/ 678559 h 766304"/>
              <a:gd name="connsiteX4-1229" fmla="*/ 385653 w 486468"/>
              <a:gd name="connsiteY4-1230" fmla="*/ 664135 h 766304"/>
              <a:gd name="connsiteX5-1231" fmla="*/ 402437 w 486468"/>
              <a:gd name="connsiteY5-1232" fmla="*/ 641042 h 766304"/>
              <a:gd name="connsiteX6-1233" fmla="*/ 416449 w 486468"/>
              <a:gd name="connsiteY6-1234" fmla="*/ 617085 h 766304"/>
              <a:gd name="connsiteX7-1235" fmla="*/ 434315 w 486468"/>
              <a:gd name="connsiteY7-1236" fmla="*/ 593211 h 766304"/>
              <a:gd name="connsiteX8-1237" fmla="*/ 452845 w 486468"/>
              <a:gd name="connsiteY8-1238" fmla="*/ 553233 h 766304"/>
              <a:gd name="connsiteX9-1239" fmla="*/ 470703 w 486468"/>
              <a:gd name="connsiteY9-1240" fmla="*/ 501198 h 766304"/>
              <a:gd name="connsiteX10-1241" fmla="*/ 486441 w 486468"/>
              <a:gd name="connsiteY10-1242" fmla="*/ 351593 h 766304"/>
              <a:gd name="connsiteX11-1243" fmla="*/ 475242 w 486468"/>
              <a:gd name="connsiteY11-1244" fmla="*/ 297822 h 766304"/>
              <a:gd name="connsiteX12-1245" fmla="*/ 472443 w 486468"/>
              <a:gd name="connsiteY12-1246" fmla="*/ 281018 h 766304"/>
              <a:gd name="connsiteX13-1247" fmla="*/ 427648 w 486468"/>
              <a:gd name="connsiteY13-1248" fmla="*/ 160035 h 766304"/>
              <a:gd name="connsiteX14-1249" fmla="*/ 408827 w 486468"/>
              <a:gd name="connsiteY14-1250" fmla="*/ 134597 h 766304"/>
              <a:gd name="connsiteX15-1251" fmla="*/ 391252 w 486468"/>
              <a:gd name="connsiteY15-1252" fmla="*/ 109625 h 766304"/>
              <a:gd name="connsiteX16-1253" fmla="*/ 362438 w 486468"/>
              <a:gd name="connsiteY16-1254" fmla="*/ 82274 h 766304"/>
              <a:gd name="connsiteX17-1255" fmla="*/ 301662 w 486468"/>
              <a:gd name="connsiteY17-1256" fmla="*/ 35690 h 766304"/>
              <a:gd name="connsiteX18-1257" fmla="*/ 309928 w 486468"/>
              <a:gd name="connsiteY18-1258" fmla="*/ 40019 h 766304"/>
              <a:gd name="connsiteX19-1259" fmla="*/ 256867 w 486468"/>
              <a:gd name="connsiteY19-1260" fmla="*/ 18886 h 766304"/>
              <a:gd name="connsiteX20-1261" fmla="*/ 217672 w 486468"/>
              <a:gd name="connsiteY20-1262" fmla="*/ 8805 h 766304"/>
              <a:gd name="connsiteX21-1263" fmla="*/ 164949 w 486468"/>
              <a:gd name="connsiteY21-1264" fmla="*/ 103 h 766304"/>
              <a:gd name="connsiteX22-1265" fmla="*/ 98879 w 486468"/>
              <a:gd name="connsiteY22-1266" fmla="*/ 9785 h 766304"/>
              <a:gd name="connsiteX23-1267" fmla="*/ 0 w 486468"/>
              <a:gd name="connsiteY23-1268" fmla="*/ 53465 h 766304"/>
              <a:gd name="connsiteX0-1269" fmla="*/ 161352 w 486468"/>
              <a:gd name="connsiteY0-1270" fmla="*/ 766477 h 766477"/>
              <a:gd name="connsiteX1-1271" fmla="*/ 254067 w 486468"/>
              <a:gd name="connsiteY1-1272" fmla="*/ 751685 h 766477"/>
              <a:gd name="connsiteX2-1273" fmla="*/ 354468 w 486468"/>
              <a:gd name="connsiteY2-1274" fmla="*/ 694087 h 766477"/>
              <a:gd name="connsiteX3-1275" fmla="*/ 362867 w 486468"/>
              <a:gd name="connsiteY3-1276" fmla="*/ 678732 h 766477"/>
              <a:gd name="connsiteX4-1277" fmla="*/ 385653 w 486468"/>
              <a:gd name="connsiteY4-1278" fmla="*/ 664308 h 766477"/>
              <a:gd name="connsiteX5-1279" fmla="*/ 402437 w 486468"/>
              <a:gd name="connsiteY5-1280" fmla="*/ 641215 h 766477"/>
              <a:gd name="connsiteX6-1281" fmla="*/ 416449 w 486468"/>
              <a:gd name="connsiteY6-1282" fmla="*/ 617258 h 766477"/>
              <a:gd name="connsiteX7-1283" fmla="*/ 434315 w 486468"/>
              <a:gd name="connsiteY7-1284" fmla="*/ 593384 h 766477"/>
              <a:gd name="connsiteX8-1285" fmla="*/ 452845 w 486468"/>
              <a:gd name="connsiteY8-1286" fmla="*/ 553406 h 766477"/>
              <a:gd name="connsiteX9-1287" fmla="*/ 470703 w 486468"/>
              <a:gd name="connsiteY9-1288" fmla="*/ 501371 h 766477"/>
              <a:gd name="connsiteX10-1289" fmla="*/ 486441 w 486468"/>
              <a:gd name="connsiteY10-1290" fmla="*/ 351766 h 766477"/>
              <a:gd name="connsiteX11-1291" fmla="*/ 475242 w 486468"/>
              <a:gd name="connsiteY11-1292" fmla="*/ 297995 h 766477"/>
              <a:gd name="connsiteX12-1293" fmla="*/ 472443 w 486468"/>
              <a:gd name="connsiteY12-1294" fmla="*/ 281191 h 766477"/>
              <a:gd name="connsiteX13-1295" fmla="*/ 427648 w 486468"/>
              <a:gd name="connsiteY13-1296" fmla="*/ 160208 h 766477"/>
              <a:gd name="connsiteX14-1297" fmla="*/ 408827 w 486468"/>
              <a:gd name="connsiteY14-1298" fmla="*/ 134770 h 766477"/>
              <a:gd name="connsiteX15-1299" fmla="*/ 391252 w 486468"/>
              <a:gd name="connsiteY15-1300" fmla="*/ 109798 h 766477"/>
              <a:gd name="connsiteX16-1301" fmla="*/ 362438 w 486468"/>
              <a:gd name="connsiteY16-1302" fmla="*/ 82447 h 766477"/>
              <a:gd name="connsiteX17-1303" fmla="*/ 301662 w 486468"/>
              <a:gd name="connsiteY17-1304" fmla="*/ 35863 h 766477"/>
              <a:gd name="connsiteX18-1305" fmla="*/ 309928 w 486468"/>
              <a:gd name="connsiteY18-1306" fmla="*/ 40192 h 766477"/>
              <a:gd name="connsiteX19-1307" fmla="*/ 256867 w 486468"/>
              <a:gd name="connsiteY19-1308" fmla="*/ 19059 h 766477"/>
              <a:gd name="connsiteX20-1309" fmla="*/ 217672 w 486468"/>
              <a:gd name="connsiteY20-1310" fmla="*/ 3239 h 766477"/>
              <a:gd name="connsiteX21-1311" fmla="*/ 164949 w 486468"/>
              <a:gd name="connsiteY21-1312" fmla="*/ 276 h 766477"/>
              <a:gd name="connsiteX22-1313" fmla="*/ 98879 w 486468"/>
              <a:gd name="connsiteY22-1314" fmla="*/ 9958 h 766477"/>
              <a:gd name="connsiteX23-1315" fmla="*/ 0 w 486468"/>
              <a:gd name="connsiteY23-1316" fmla="*/ 53638 h 766477"/>
              <a:gd name="connsiteX0-1317" fmla="*/ 161352 w 486468"/>
              <a:gd name="connsiteY0-1318" fmla="*/ 766477 h 766477"/>
              <a:gd name="connsiteX1-1319" fmla="*/ 254067 w 486468"/>
              <a:gd name="connsiteY1-1320" fmla="*/ 751685 h 766477"/>
              <a:gd name="connsiteX2-1321" fmla="*/ 354468 w 486468"/>
              <a:gd name="connsiteY2-1322" fmla="*/ 694087 h 766477"/>
              <a:gd name="connsiteX3-1323" fmla="*/ 362867 w 486468"/>
              <a:gd name="connsiteY3-1324" fmla="*/ 678732 h 766477"/>
              <a:gd name="connsiteX4-1325" fmla="*/ 385653 w 486468"/>
              <a:gd name="connsiteY4-1326" fmla="*/ 664308 h 766477"/>
              <a:gd name="connsiteX5-1327" fmla="*/ 402437 w 486468"/>
              <a:gd name="connsiteY5-1328" fmla="*/ 641215 h 766477"/>
              <a:gd name="connsiteX6-1329" fmla="*/ 416449 w 486468"/>
              <a:gd name="connsiteY6-1330" fmla="*/ 617258 h 766477"/>
              <a:gd name="connsiteX7-1331" fmla="*/ 434315 w 486468"/>
              <a:gd name="connsiteY7-1332" fmla="*/ 593384 h 766477"/>
              <a:gd name="connsiteX8-1333" fmla="*/ 452845 w 486468"/>
              <a:gd name="connsiteY8-1334" fmla="*/ 553406 h 766477"/>
              <a:gd name="connsiteX9-1335" fmla="*/ 470703 w 486468"/>
              <a:gd name="connsiteY9-1336" fmla="*/ 501371 h 766477"/>
              <a:gd name="connsiteX10-1337" fmla="*/ 486441 w 486468"/>
              <a:gd name="connsiteY10-1338" fmla="*/ 351766 h 766477"/>
              <a:gd name="connsiteX11-1339" fmla="*/ 475242 w 486468"/>
              <a:gd name="connsiteY11-1340" fmla="*/ 297995 h 766477"/>
              <a:gd name="connsiteX12-1341" fmla="*/ 472443 w 486468"/>
              <a:gd name="connsiteY12-1342" fmla="*/ 281191 h 766477"/>
              <a:gd name="connsiteX13-1343" fmla="*/ 427648 w 486468"/>
              <a:gd name="connsiteY13-1344" fmla="*/ 160208 h 766477"/>
              <a:gd name="connsiteX14-1345" fmla="*/ 408827 w 486468"/>
              <a:gd name="connsiteY14-1346" fmla="*/ 134770 h 766477"/>
              <a:gd name="connsiteX15-1347" fmla="*/ 391252 w 486468"/>
              <a:gd name="connsiteY15-1348" fmla="*/ 109798 h 766477"/>
              <a:gd name="connsiteX16-1349" fmla="*/ 362438 w 486468"/>
              <a:gd name="connsiteY16-1350" fmla="*/ 82447 h 766477"/>
              <a:gd name="connsiteX17-1351" fmla="*/ 301662 w 486468"/>
              <a:gd name="connsiteY17-1352" fmla="*/ 35863 h 766477"/>
              <a:gd name="connsiteX18-1353" fmla="*/ 309928 w 486468"/>
              <a:gd name="connsiteY18-1354" fmla="*/ 40192 h 766477"/>
              <a:gd name="connsiteX19-1355" fmla="*/ 261649 w 486468"/>
              <a:gd name="connsiteY19-1356" fmla="*/ 15232 h 766477"/>
              <a:gd name="connsiteX20-1357" fmla="*/ 217672 w 486468"/>
              <a:gd name="connsiteY20-1358" fmla="*/ 3239 h 766477"/>
              <a:gd name="connsiteX21-1359" fmla="*/ 164949 w 486468"/>
              <a:gd name="connsiteY21-1360" fmla="*/ 276 h 766477"/>
              <a:gd name="connsiteX22-1361" fmla="*/ 98879 w 486468"/>
              <a:gd name="connsiteY22-1362" fmla="*/ 9958 h 766477"/>
              <a:gd name="connsiteX23-1363" fmla="*/ 0 w 486468"/>
              <a:gd name="connsiteY23-1364" fmla="*/ 53638 h 766477"/>
              <a:gd name="connsiteX0-1365" fmla="*/ 161352 w 486468"/>
              <a:gd name="connsiteY0-1366" fmla="*/ 766477 h 766477"/>
              <a:gd name="connsiteX1-1367" fmla="*/ 254067 w 486468"/>
              <a:gd name="connsiteY1-1368" fmla="*/ 751685 h 766477"/>
              <a:gd name="connsiteX2-1369" fmla="*/ 354468 w 486468"/>
              <a:gd name="connsiteY2-1370" fmla="*/ 694087 h 766477"/>
              <a:gd name="connsiteX3-1371" fmla="*/ 362867 w 486468"/>
              <a:gd name="connsiteY3-1372" fmla="*/ 678732 h 766477"/>
              <a:gd name="connsiteX4-1373" fmla="*/ 385653 w 486468"/>
              <a:gd name="connsiteY4-1374" fmla="*/ 664308 h 766477"/>
              <a:gd name="connsiteX5-1375" fmla="*/ 402437 w 486468"/>
              <a:gd name="connsiteY5-1376" fmla="*/ 641215 h 766477"/>
              <a:gd name="connsiteX6-1377" fmla="*/ 416449 w 486468"/>
              <a:gd name="connsiteY6-1378" fmla="*/ 617258 h 766477"/>
              <a:gd name="connsiteX7-1379" fmla="*/ 434315 w 486468"/>
              <a:gd name="connsiteY7-1380" fmla="*/ 593384 h 766477"/>
              <a:gd name="connsiteX8-1381" fmla="*/ 452845 w 486468"/>
              <a:gd name="connsiteY8-1382" fmla="*/ 553406 h 766477"/>
              <a:gd name="connsiteX9-1383" fmla="*/ 470703 w 486468"/>
              <a:gd name="connsiteY9-1384" fmla="*/ 501371 h 766477"/>
              <a:gd name="connsiteX10-1385" fmla="*/ 486441 w 486468"/>
              <a:gd name="connsiteY10-1386" fmla="*/ 351766 h 766477"/>
              <a:gd name="connsiteX11-1387" fmla="*/ 475242 w 486468"/>
              <a:gd name="connsiteY11-1388" fmla="*/ 297995 h 766477"/>
              <a:gd name="connsiteX12-1389" fmla="*/ 472443 w 486468"/>
              <a:gd name="connsiteY12-1390" fmla="*/ 281191 h 766477"/>
              <a:gd name="connsiteX13-1391" fmla="*/ 422866 w 486468"/>
              <a:gd name="connsiteY13-1392" fmla="*/ 162121 h 766477"/>
              <a:gd name="connsiteX14-1393" fmla="*/ 408827 w 486468"/>
              <a:gd name="connsiteY14-1394" fmla="*/ 134770 h 766477"/>
              <a:gd name="connsiteX15-1395" fmla="*/ 391252 w 486468"/>
              <a:gd name="connsiteY15-1396" fmla="*/ 109798 h 766477"/>
              <a:gd name="connsiteX16-1397" fmla="*/ 362438 w 486468"/>
              <a:gd name="connsiteY16-1398" fmla="*/ 82447 h 766477"/>
              <a:gd name="connsiteX17-1399" fmla="*/ 301662 w 486468"/>
              <a:gd name="connsiteY17-1400" fmla="*/ 35863 h 766477"/>
              <a:gd name="connsiteX18-1401" fmla="*/ 309928 w 486468"/>
              <a:gd name="connsiteY18-1402" fmla="*/ 40192 h 766477"/>
              <a:gd name="connsiteX19-1403" fmla="*/ 261649 w 486468"/>
              <a:gd name="connsiteY19-1404" fmla="*/ 15232 h 766477"/>
              <a:gd name="connsiteX20-1405" fmla="*/ 217672 w 486468"/>
              <a:gd name="connsiteY20-1406" fmla="*/ 3239 h 766477"/>
              <a:gd name="connsiteX21-1407" fmla="*/ 164949 w 486468"/>
              <a:gd name="connsiteY21-1408" fmla="*/ 276 h 766477"/>
              <a:gd name="connsiteX22-1409" fmla="*/ 98879 w 486468"/>
              <a:gd name="connsiteY22-1410" fmla="*/ 9958 h 766477"/>
              <a:gd name="connsiteX23-1411" fmla="*/ 0 w 486468"/>
              <a:gd name="connsiteY23-1412" fmla="*/ 53638 h 766477"/>
              <a:gd name="connsiteX0-1413" fmla="*/ 161352 w 486468"/>
              <a:gd name="connsiteY0-1414" fmla="*/ 766477 h 766477"/>
              <a:gd name="connsiteX1-1415" fmla="*/ 254067 w 486468"/>
              <a:gd name="connsiteY1-1416" fmla="*/ 751685 h 766477"/>
              <a:gd name="connsiteX2-1417" fmla="*/ 354468 w 486468"/>
              <a:gd name="connsiteY2-1418" fmla="*/ 694087 h 766477"/>
              <a:gd name="connsiteX3-1419" fmla="*/ 362867 w 486468"/>
              <a:gd name="connsiteY3-1420" fmla="*/ 678732 h 766477"/>
              <a:gd name="connsiteX4-1421" fmla="*/ 385653 w 486468"/>
              <a:gd name="connsiteY4-1422" fmla="*/ 664308 h 766477"/>
              <a:gd name="connsiteX5-1423" fmla="*/ 402437 w 486468"/>
              <a:gd name="connsiteY5-1424" fmla="*/ 641215 h 766477"/>
              <a:gd name="connsiteX6-1425" fmla="*/ 416449 w 486468"/>
              <a:gd name="connsiteY6-1426" fmla="*/ 617258 h 766477"/>
              <a:gd name="connsiteX7-1427" fmla="*/ 434315 w 486468"/>
              <a:gd name="connsiteY7-1428" fmla="*/ 593384 h 766477"/>
              <a:gd name="connsiteX8-1429" fmla="*/ 452845 w 486468"/>
              <a:gd name="connsiteY8-1430" fmla="*/ 553406 h 766477"/>
              <a:gd name="connsiteX9-1431" fmla="*/ 470703 w 486468"/>
              <a:gd name="connsiteY9-1432" fmla="*/ 501371 h 766477"/>
              <a:gd name="connsiteX10-1433" fmla="*/ 486441 w 486468"/>
              <a:gd name="connsiteY10-1434" fmla="*/ 351766 h 766477"/>
              <a:gd name="connsiteX11-1435" fmla="*/ 475242 w 486468"/>
              <a:gd name="connsiteY11-1436" fmla="*/ 297995 h 766477"/>
              <a:gd name="connsiteX12-1437" fmla="*/ 472443 w 486468"/>
              <a:gd name="connsiteY12-1438" fmla="*/ 281191 h 766477"/>
              <a:gd name="connsiteX13-1439" fmla="*/ 422866 w 486468"/>
              <a:gd name="connsiteY13-1440" fmla="*/ 162121 h 766477"/>
              <a:gd name="connsiteX14-1441" fmla="*/ 408827 w 486468"/>
              <a:gd name="connsiteY14-1442" fmla="*/ 134770 h 766477"/>
              <a:gd name="connsiteX15-1443" fmla="*/ 391252 w 486468"/>
              <a:gd name="connsiteY15-1444" fmla="*/ 109798 h 766477"/>
              <a:gd name="connsiteX16-1445" fmla="*/ 362438 w 486468"/>
              <a:gd name="connsiteY16-1446" fmla="*/ 82447 h 766477"/>
              <a:gd name="connsiteX17-1447" fmla="*/ 301662 w 486468"/>
              <a:gd name="connsiteY17-1448" fmla="*/ 35863 h 766477"/>
              <a:gd name="connsiteX18-1449" fmla="*/ 309928 w 486468"/>
              <a:gd name="connsiteY18-1450" fmla="*/ 40192 h 766477"/>
              <a:gd name="connsiteX19-1451" fmla="*/ 261649 w 486468"/>
              <a:gd name="connsiteY19-1452" fmla="*/ 15232 h 766477"/>
              <a:gd name="connsiteX20-1453" fmla="*/ 217672 w 486468"/>
              <a:gd name="connsiteY20-1454" fmla="*/ 3239 h 766477"/>
              <a:gd name="connsiteX21-1455" fmla="*/ 164949 w 486468"/>
              <a:gd name="connsiteY21-1456" fmla="*/ 276 h 766477"/>
              <a:gd name="connsiteX22-1457" fmla="*/ 98879 w 486468"/>
              <a:gd name="connsiteY22-1458" fmla="*/ 9958 h 766477"/>
              <a:gd name="connsiteX23-1459" fmla="*/ 0 w 486468"/>
              <a:gd name="connsiteY23-1460" fmla="*/ 53638 h 766477"/>
              <a:gd name="connsiteX0-1461" fmla="*/ 161352 w 486468"/>
              <a:gd name="connsiteY0-1462" fmla="*/ 766477 h 766477"/>
              <a:gd name="connsiteX1-1463" fmla="*/ 254067 w 486468"/>
              <a:gd name="connsiteY1-1464" fmla="*/ 751685 h 766477"/>
              <a:gd name="connsiteX2-1465" fmla="*/ 354468 w 486468"/>
              <a:gd name="connsiteY2-1466" fmla="*/ 694087 h 766477"/>
              <a:gd name="connsiteX3-1467" fmla="*/ 362867 w 486468"/>
              <a:gd name="connsiteY3-1468" fmla="*/ 678732 h 766477"/>
              <a:gd name="connsiteX4-1469" fmla="*/ 385653 w 486468"/>
              <a:gd name="connsiteY4-1470" fmla="*/ 664308 h 766477"/>
              <a:gd name="connsiteX5-1471" fmla="*/ 402437 w 486468"/>
              <a:gd name="connsiteY5-1472" fmla="*/ 641215 h 766477"/>
              <a:gd name="connsiteX6-1473" fmla="*/ 416449 w 486468"/>
              <a:gd name="connsiteY6-1474" fmla="*/ 617258 h 766477"/>
              <a:gd name="connsiteX7-1475" fmla="*/ 434315 w 486468"/>
              <a:gd name="connsiteY7-1476" fmla="*/ 593384 h 766477"/>
              <a:gd name="connsiteX8-1477" fmla="*/ 452845 w 486468"/>
              <a:gd name="connsiteY8-1478" fmla="*/ 553406 h 766477"/>
              <a:gd name="connsiteX9-1479" fmla="*/ 470703 w 486468"/>
              <a:gd name="connsiteY9-1480" fmla="*/ 501371 h 766477"/>
              <a:gd name="connsiteX10-1481" fmla="*/ 486441 w 486468"/>
              <a:gd name="connsiteY10-1482" fmla="*/ 351766 h 766477"/>
              <a:gd name="connsiteX11-1483" fmla="*/ 475242 w 486468"/>
              <a:gd name="connsiteY11-1484" fmla="*/ 297995 h 766477"/>
              <a:gd name="connsiteX12-1485" fmla="*/ 472443 w 486468"/>
              <a:gd name="connsiteY12-1486" fmla="*/ 281191 h 766477"/>
              <a:gd name="connsiteX13-1487" fmla="*/ 426054 w 486468"/>
              <a:gd name="connsiteY13-1488" fmla="*/ 160207 h 766477"/>
              <a:gd name="connsiteX14-1489" fmla="*/ 408827 w 486468"/>
              <a:gd name="connsiteY14-1490" fmla="*/ 134770 h 766477"/>
              <a:gd name="connsiteX15-1491" fmla="*/ 391252 w 486468"/>
              <a:gd name="connsiteY15-1492" fmla="*/ 109798 h 766477"/>
              <a:gd name="connsiteX16-1493" fmla="*/ 362438 w 486468"/>
              <a:gd name="connsiteY16-1494" fmla="*/ 82447 h 766477"/>
              <a:gd name="connsiteX17-1495" fmla="*/ 301662 w 486468"/>
              <a:gd name="connsiteY17-1496" fmla="*/ 35863 h 766477"/>
              <a:gd name="connsiteX18-1497" fmla="*/ 309928 w 486468"/>
              <a:gd name="connsiteY18-1498" fmla="*/ 40192 h 766477"/>
              <a:gd name="connsiteX19-1499" fmla="*/ 261649 w 486468"/>
              <a:gd name="connsiteY19-1500" fmla="*/ 15232 h 766477"/>
              <a:gd name="connsiteX20-1501" fmla="*/ 217672 w 486468"/>
              <a:gd name="connsiteY20-1502" fmla="*/ 3239 h 766477"/>
              <a:gd name="connsiteX21-1503" fmla="*/ 164949 w 486468"/>
              <a:gd name="connsiteY21-1504" fmla="*/ 276 h 766477"/>
              <a:gd name="connsiteX22-1505" fmla="*/ 98879 w 486468"/>
              <a:gd name="connsiteY22-1506" fmla="*/ 9958 h 766477"/>
              <a:gd name="connsiteX23-1507" fmla="*/ 0 w 486468"/>
              <a:gd name="connsiteY23-1508" fmla="*/ 53638 h 766477"/>
              <a:gd name="connsiteX0-1509" fmla="*/ 161352 w 486468"/>
              <a:gd name="connsiteY0-1510" fmla="*/ 766477 h 766477"/>
              <a:gd name="connsiteX1-1511" fmla="*/ 254067 w 486468"/>
              <a:gd name="connsiteY1-1512" fmla="*/ 751685 h 766477"/>
              <a:gd name="connsiteX2-1513" fmla="*/ 354468 w 486468"/>
              <a:gd name="connsiteY2-1514" fmla="*/ 694087 h 766477"/>
              <a:gd name="connsiteX3-1515" fmla="*/ 362867 w 486468"/>
              <a:gd name="connsiteY3-1516" fmla="*/ 678732 h 766477"/>
              <a:gd name="connsiteX4-1517" fmla="*/ 385653 w 486468"/>
              <a:gd name="connsiteY4-1518" fmla="*/ 664308 h 766477"/>
              <a:gd name="connsiteX5-1519" fmla="*/ 402437 w 486468"/>
              <a:gd name="connsiteY5-1520" fmla="*/ 641215 h 766477"/>
              <a:gd name="connsiteX6-1521" fmla="*/ 416449 w 486468"/>
              <a:gd name="connsiteY6-1522" fmla="*/ 617258 h 766477"/>
              <a:gd name="connsiteX7-1523" fmla="*/ 434315 w 486468"/>
              <a:gd name="connsiteY7-1524" fmla="*/ 593384 h 766477"/>
              <a:gd name="connsiteX8-1525" fmla="*/ 452845 w 486468"/>
              <a:gd name="connsiteY8-1526" fmla="*/ 553406 h 766477"/>
              <a:gd name="connsiteX9-1527" fmla="*/ 470703 w 486468"/>
              <a:gd name="connsiteY9-1528" fmla="*/ 501371 h 766477"/>
              <a:gd name="connsiteX10-1529" fmla="*/ 486441 w 486468"/>
              <a:gd name="connsiteY10-1530" fmla="*/ 351766 h 766477"/>
              <a:gd name="connsiteX11-1531" fmla="*/ 475242 w 486468"/>
              <a:gd name="connsiteY11-1532" fmla="*/ 297995 h 766477"/>
              <a:gd name="connsiteX12-1533" fmla="*/ 472443 w 486468"/>
              <a:gd name="connsiteY12-1534" fmla="*/ 281191 h 766477"/>
              <a:gd name="connsiteX13-1535" fmla="*/ 426054 w 486468"/>
              <a:gd name="connsiteY13-1536" fmla="*/ 160207 h 766477"/>
              <a:gd name="connsiteX14-1537" fmla="*/ 408827 w 486468"/>
              <a:gd name="connsiteY14-1538" fmla="*/ 134770 h 766477"/>
              <a:gd name="connsiteX15-1539" fmla="*/ 391252 w 486468"/>
              <a:gd name="connsiteY15-1540" fmla="*/ 109798 h 766477"/>
              <a:gd name="connsiteX16-1541" fmla="*/ 362438 w 486468"/>
              <a:gd name="connsiteY16-1542" fmla="*/ 82447 h 766477"/>
              <a:gd name="connsiteX17-1543" fmla="*/ 338682 w 486468"/>
              <a:gd name="connsiteY17-1544" fmla="*/ 59587 h 766477"/>
              <a:gd name="connsiteX18-1545" fmla="*/ 301662 w 486468"/>
              <a:gd name="connsiteY18-1546" fmla="*/ 35863 h 766477"/>
              <a:gd name="connsiteX19-1547" fmla="*/ 309928 w 486468"/>
              <a:gd name="connsiteY19-1548" fmla="*/ 40192 h 766477"/>
              <a:gd name="connsiteX20-1549" fmla="*/ 261649 w 486468"/>
              <a:gd name="connsiteY20-1550" fmla="*/ 15232 h 766477"/>
              <a:gd name="connsiteX21-1551" fmla="*/ 217672 w 486468"/>
              <a:gd name="connsiteY21-1552" fmla="*/ 3239 h 766477"/>
              <a:gd name="connsiteX22-1553" fmla="*/ 164949 w 486468"/>
              <a:gd name="connsiteY22-1554" fmla="*/ 276 h 766477"/>
              <a:gd name="connsiteX23-1555" fmla="*/ 98879 w 486468"/>
              <a:gd name="connsiteY23-1556" fmla="*/ 9958 h 766477"/>
              <a:gd name="connsiteX24" fmla="*/ 0 w 486468"/>
              <a:gd name="connsiteY24" fmla="*/ 53638 h 766477"/>
              <a:gd name="connsiteX0-1557" fmla="*/ 161352 w 486468"/>
              <a:gd name="connsiteY0-1558" fmla="*/ 766477 h 766477"/>
              <a:gd name="connsiteX1-1559" fmla="*/ 254067 w 486468"/>
              <a:gd name="connsiteY1-1560" fmla="*/ 751685 h 766477"/>
              <a:gd name="connsiteX2-1561" fmla="*/ 354468 w 486468"/>
              <a:gd name="connsiteY2-1562" fmla="*/ 694087 h 766477"/>
              <a:gd name="connsiteX3-1563" fmla="*/ 362867 w 486468"/>
              <a:gd name="connsiteY3-1564" fmla="*/ 678732 h 766477"/>
              <a:gd name="connsiteX4-1565" fmla="*/ 385653 w 486468"/>
              <a:gd name="connsiteY4-1566" fmla="*/ 664308 h 766477"/>
              <a:gd name="connsiteX5-1567" fmla="*/ 402437 w 486468"/>
              <a:gd name="connsiteY5-1568" fmla="*/ 641215 h 766477"/>
              <a:gd name="connsiteX6-1569" fmla="*/ 416449 w 486468"/>
              <a:gd name="connsiteY6-1570" fmla="*/ 617258 h 766477"/>
              <a:gd name="connsiteX7-1571" fmla="*/ 434315 w 486468"/>
              <a:gd name="connsiteY7-1572" fmla="*/ 593384 h 766477"/>
              <a:gd name="connsiteX8-1573" fmla="*/ 452845 w 486468"/>
              <a:gd name="connsiteY8-1574" fmla="*/ 553406 h 766477"/>
              <a:gd name="connsiteX9-1575" fmla="*/ 470703 w 486468"/>
              <a:gd name="connsiteY9-1576" fmla="*/ 501371 h 766477"/>
              <a:gd name="connsiteX10-1577" fmla="*/ 486441 w 486468"/>
              <a:gd name="connsiteY10-1578" fmla="*/ 351766 h 766477"/>
              <a:gd name="connsiteX11-1579" fmla="*/ 480023 w 486468"/>
              <a:gd name="connsiteY11-1580" fmla="*/ 294169 h 766477"/>
              <a:gd name="connsiteX12-1581" fmla="*/ 472443 w 486468"/>
              <a:gd name="connsiteY12-1582" fmla="*/ 281191 h 766477"/>
              <a:gd name="connsiteX13-1583" fmla="*/ 426054 w 486468"/>
              <a:gd name="connsiteY13-1584" fmla="*/ 160207 h 766477"/>
              <a:gd name="connsiteX14-1585" fmla="*/ 408827 w 486468"/>
              <a:gd name="connsiteY14-1586" fmla="*/ 134770 h 766477"/>
              <a:gd name="connsiteX15-1587" fmla="*/ 391252 w 486468"/>
              <a:gd name="connsiteY15-1588" fmla="*/ 109798 h 766477"/>
              <a:gd name="connsiteX16-1589" fmla="*/ 362438 w 486468"/>
              <a:gd name="connsiteY16-1590" fmla="*/ 82447 h 766477"/>
              <a:gd name="connsiteX17-1591" fmla="*/ 338682 w 486468"/>
              <a:gd name="connsiteY17-1592" fmla="*/ 59587 h 766477"/>
              <a:gd name="connsiteX18-1593" fmla="*/ 301662 w 486468"/>
              <a:gd name="connsiteY18-1594" fmla="*/ 35863 h 766477"/>
              <a:gd name="connsiteX19-1595" fmla="*/ 309928 w 486468"/>
              <a:gd name="connsiteY19-1596" fmla="*/ 40192 h 766477"/>
              <a:gd name="connsiteX20-1597" fmla="*/ 261649 w 486468"/>
              <a:gd name="connsiteY20-1598" fmla="*/ 15232 h 766477"/>
              <a:gd name="connsiteX21-1599" fmla="*/ 217672 w 486468"/>
              <a:gd name="connsiteY21-1600" fmla="*/ 3239 h 766477"/>
              <a:gd name="connsiteX22-1601" fmla="*/ 164949 w 486468"/>
              <a:gd name="connsiteY22-1602" fmla="*/ 276 h 766477"/>
              <a:gd name="connsiteX23-1603" fmla="*/ 98879 w 486468"/>
              <a:gd name="connsiteY23-1604" fmla="*/ 9958 h 766477"/>
              <a:gd name="connsiteX24-1605" fmla="*/ 0 w 486468"/>
              <a:gd name="connsiteY24-1606" fmla="*/ 53638 h 766477"/>
              <a:gd name="connsiteX0-1607" fmla="*/ 161352 w 486468"/>
              <a:gd name="connsiteY0-1608" fmla="*/ 766477 h 766477"/>
              <a:gd name="connsiteX1-1609" fmla="*/ 254067 w 486468"/>
              <a:gd name="connsiteY1-1610" fmla="*/ 751685 h 766477"/>
              <a:gd name="connsiteX2-1611" fmla="*/ 354468 w 486468"/>
              <a:gd name="connsiteY2-1612" fmla="*/ 694087 h 766477"/>
              <a:gd name="connsiteX3-1613" fmla="*/ 362867 w 486468"/>
              <a:gd name="connsiteY3-1614" fmla="*/ 678732 h 766477"/>
              <a:gd name="connsiteX4-1615" fmla="*/ 385653 w 486468"/>
              <a:gd name="connsiteY4-1616" fmla="*/ 664308 h 766477"/>
              <a:gd name="connsiteX5-1617" fmla="*/ 402437 w 486468"/>
              <a:gd name="connsiteY5-1618" fmla="*/ 641215 h 766477"/>
              <a:gd name="connsiteX6-1619" fmla="*/ 416449 w 486468"/>
              <a:gd name="connsiteY6-1620" fmla="*/ 617258 h 766477"/>
              <a:gd name="connsiteX7-1621" fmla="*/ 434315 w 486468"/>
              <a:gd name="connsiteY7-1622" fmla="*/ 593384 h 766477"/>
              <a:gd name="connsiteX8-1623" fmla="*/ 452845 w 486468"/>
              <a:gd name="connsiteY8-1624" fmla="*/ 553406 h 766477"/>
              <a:gd name="connsiteX9-1625" fmla="*/ 470703 w 486468"/>
              <a:gd name="connsiteY9-1626" fmla="*/ 501371 h 766477"/>
              <a:gd name="connsiteX10-1627" fmla="*/ 486441 w 486468"/>
              <a:gd name="connsiteY10-1628" fmla="*/ 351766 h 766477"/>
              <a:gd name="connsiteX11-1629" fmla="*/ 475242 w 486468"/>
              <a:gd name="connsiteY11-1630" fmla="*/ 294169 h 766477"/>
              <a:gd name="connsiteX12-1631" fmla="*/ 472443 w 486468"/>
              <a:gd name="connsiteY12-1632" fmla="*/ 281191 h 766477"/>
              <a:gd name="connsiteX13-1633" fmla="*/ 426054 w 486468"/>
              <a:gd name="connsiteY13-1634" fmla="*/ 160207 h 766477"/>
              <a:gd name="connsiteX14-1635" fmla="*/ 408827 w 486468"/>
              <a:gd name="connsiteY14-1636" fmla="*/ 134770 h 766477"/>
              <a:gd name="connsiteX15-1637" fmla="*/ 391252 w 486468"/>
              <a:gd name="connsiteY15-1638" fmla="*/ 109798 h 766477"/>
              <a:gd name="connsiteX16-1639" fmla="*/ 362438 w 486468"/>
              <a:gd name="connsiteY16-1640" fmla="*/ 82447 h 766477"/>
              <a:gd name="connsiteX17-1641" fmla="*/ 338682 w 486468"/>
              <a:gd name="connsiteY17-1642" fmla="*/ 59587 h 766477"/>
              <a:gd name="connsiteX18-1643" fmla="*/ 301662 w 486468"/>
              <a:gd name="connsiteY18-1644" fmla="*/ 35863 h 766477"/>
              <a:gd name="connsiteX19-1645" fmla="*/ 309928 w 486468"/>
              <a:gd name="connsiteY19-1646" fmla="*/ 40192 h 766477"/>
              <a:gd name="connsiteX20-1647" fmla="*/ 261649 w 486468"/>
              <a:gd name="connsiteY20-1648" fmla="*/ 15232 h 766477"/>
              <a:gd name="connsiteX21-1649" fmla="*/ 217672 w 486468"/>
              <a:gd name="connsiteY21-1650" fmla="*/ 3239 h 766477"/>
              <a:gd name="connsiteX22-1651" fmla="*/ 164949 w 486468"/>
              <a:gd name="connsiteY22-1652" fmla="*/ 276 h 766477"/>
              <a:gd name="connsiteX23-1653" fmla="*/ 98879 w 486468"/>
              <a:gd name="connsiteY23-1654" fmla="*/ 9958 h 766477"/>
              <a:gd name="connsiteX24-1655" fmla="*/ 0 w 486468"/>
              <a:gd name="connsiteY24-1656" fmla="*/ 53638 h 766477"/>
              <a:gd name="connsiteX0-1657" fmla="*/ 161352 w 483288"/>
              <a:gd name="connsiteY0-1658" fmla="*/ 766477 h 766477"/>
              <a:gd name="connsiteX1-1659" fmla="*/ 254067 w 483288"/>
              <a:gd name="connsiteY1-1660" fmla="*/ 751685 h 766477"/>
              <a:gd name="connsiteX2-1661" fmla="*/ 354468 w 483288"/>
              <a:gd name="connsiteY2-1662" fmla="*/ 694087 h 766477"/>
              <a:gd name="connsiteX3-1663" fmla="*/ 362867 w 483288"/>
              <a:gd name="connsiteY3-1664" fmla="*/ 678732 h 766477"/>
              <a:gd name="connsiteX4-1665" fmla="*/ 385653 w 483288"/>
              <a:gd name="connsiteY4-1666" fmla="*/ 664308 h 766477"/>
              <a:gd name="connsiteX5-1667" fmla="*/ 402437 w 483288"/>
              <a:gd name="connsiteY5-1668" fmla="*/ 641215 h 766477"/>
              <a:gd name="connsiteX6-1669" fmla="*/ 416449 w 483288"/>
              <a:gd name="connsiteY6-1670" fmla="*/ 617258 h 766477"/>
              <a:gd name="connsiteX7-1671" fmla="*/ 434315 w 483288"/>
              <a:gd name="connsiteY7-1672" fmla="*/ 593384 h 766477"/>
              <a:gd name="connsiteX8-1673" fmla="*/ 452845 w 483288"/>
              <a:gd name="connsiteY8-1674" fmla="*/ 553406 h 766477"/>
              <a:gd name="connsiteX9-1675" fmla="*/ 470703 w 483288"/>
              <a:gd name="connsiteY9-1676" fmla="*/ 501371 h 766477"/>
              <a:gd name="connsiteX10-1677" fmla="*/ 483253 w 483288"/>
              <a:gd name="connsiteY10-1678" fmla="*/ 353679 h 766477"/>
              <a:gd name="connsiteX11-1679" fmla="*/ 475242 w 483288"/>
              <a:gd name="connsiteY11-1680" fmla="*/ 294169 h 766477"/>
              <a:gd name="connsiteX12-1681" fmla="*/ 472443 w 483288"/>
              <a:gd name="connsiteY12-1682" fmla="*/ 281191 h 766477"/>
              <a:gd name="connsiteX13-1683" fmla="*/ 426054 w 483288"/>
              <a:gd name="connsiteY13-1684" fmla="*/ 160207 h 766477"/>
              <a:gd name="connsiteX14-1685" fmla="*/ 408827 w 483288"/>
              <a:gd name="connsiteY14-1686" fmla="*/ 134770 h 766477"/>
              <a:gd name="connsiteX15-1687" fmla="*/ 391252 w 483288"/>
              <a:gd name="connsiteY15-1688" fmla="*/ 109798 h 766477"/>
              <a:gd name="connsiteX16-1689" fmla="*/ 362438 w 483288"/>
              <a:gd name="connsiteY16-1690" fmla="*/ 82447 h 766477"/>
              <a:gd name="connsiteX17-1691" fmla="*/ 338682 w 483288"/>
              <a:gd name="connsiteY17-1692" fmla="*/ 59587 h 766477"/>
              <a:gd name="connsiteX18-1693" fmla="*/ 301662 w 483288"/>
              <a:gd name="connsiteY18-1694" fmla="*/ 35863 h 766477"/>
              <a:gd name="connsiteX19-1695" fmla="*/ 309928 w 483288"/>
              <a:gd name="connsiteY19-1696" fmla="*/ 40192 h 766477"/>
              <a:gd name="connsiteX20-1697" fmla="*/ 261649 w 483288"/>
              <a:gd name="connsiteY20-1698" fmla="*/ 15232 h 766477"/>
              <a:gd name="connsiteX21-1699" fmla="*/ 217672 w 483288"/>
              <a:gd name="connsiteY21-1700" fmla="*/ 3239 h 766477"/>
              <a:gd name="connsiteX22-1701" fmla="*/ 164949 w 483288"/>
              <a:gd name="connsiteY22-1702" fmla="*/ 276 h 766477"/>
              <a:gd name="connsiteX23-1703" fmla="*/ 98879 w 483288"/>
              <a:gd name="connsiteY23-1704" fmla="*/ 9958 h 766477"/>
              <a:gd name="connsiteX24-1705" fmla="*/ 0 w 483288"/>
              <a:gd name="connsiteY24-1706" fmla="*/ 53638 h 766477"/>
              <a:gd name="connsiteX0-1707" fmla="*/ 161352 w 483288"/>
              <a:gd name="connsiteY0-1708" fmla="*/ 766477 h 766477"/>
              <a:gd name="connsiteX1-1709" fmla="*/ 254067 w 483288"/>
              <a:gd name="connsiteY1-1710" fmla="*/ 751685 h 766477"/>
              <a:gd name="connsiteX2-1711" fmla="*/ 354468 w 483288"/>
              <a:gd name="connsiteY2-1712" fmla="*/ 694087 h 766477"/>
              <a:gd name="connsiteX3-1713" fmla="*/ 362867 w 483288"/>
              <a:gd name="connsiteY3-1714" fmla="*/ 678732 h 766477"/>
              <a:gd name="connsiteX4-1715" fmla="*/ 385653 w 483288"/>
              <a:gd name="connsiteY4-1716" fmla="*/ 664308 h 766477"/>
              <a:gd name="connsiteX5-1717" fmla="*/ 402437 w 483288"/>
              <a:gd name="connsiteY5-1718" fmla="*/ 641215 h 766477"/>
              <a:gd name="connsiteX6-1719" fmla="*/ 416449 w 483288"/>
              <a:gd name="connsiteY6-1720" fmla="*/ 617258 h 766477"/>
              <a:gd name="connsiteX7-1721" fmla="*/ 434315 w 483288"/>
              <a:gd name="connsiteY7-1722" fmla="*/ 593384 h 766477"/>
              <a:gd name="connsiteX8-1723" fmla="*/ 452845 w 483288"/>
              <a:gd name="connsiteY8-1724" fmla="*/ 553406 h 766477"/>
              <a:gd name="connsiteX9-1725" fmla="*/ 470703 w 483288"/>
              <a:gd name="connsiteY9-1726" fmla="*/ 501371 h 766477"/>
              <a:gd name="connsiteX10-1727" fmla="*/ 483253 w 483288"/>
              <a:gd name="connsiteY10-1728" fmla="*/ 353679 h 766477"/>
              <a:gd name="connsiteX11-1729" fmla="*/ 475242 w 483288"/>
              <a:gd name="connsiteY11-1730" fmla="*/ 294169 h 766477"/>
              <a:gd name="connsiteX12-1731" fmla="*/ 478818 w 483288"/>
              <a:gd name="connsiteY12-1732" fmla="*/ 313716 h 766477"/>
              <a:gd name="connsiteX13-1733" fmla="*/ 426054 w 483288"/>
              <a:gd name="connsiteY13-1734" fmla="*/ 160207 h 766477"/>
              <a:gd name="connsiteX14-1735" fmla="*/ 408827 w 483288"/>
              <a:gd name="connsiteY14-1736" fmla="*/ 134770 h 766477"/>
              <a:gd name="connsiteX15-1737" fmla="*/ 391252 w 483288"/>
              <a:gd name="connsiteY15-1738" fmla="*/ 109798 h 766477"/>
              <a:gd name="connsiteX16-1739" fmla="*/ 362438 w 483288"/>
              <a:gd name="connsiteY16-1740" fmla="*/ 82447 h 766477"/>
              <a:gd name="connsiteX17-1741" fmla="*/ 338682 w 483288"/>
              <a:gd name="connsiteY17-1742" fmla="*/ 59587 h 766477"/>
              <a:gd name="connsiteX18-1743" fmla="*/ 301662 w 483288"/>
              <a:gd name="connsiteY18-1744" fmla="*/ 35863 h 766477"/>
              <a:gd name="connsiteX19-1745" fmla="*/ 309928 w 483288"/>
              <a:gd name="connsiteY19-1746" fmla="*/ 40192 h 766477"/>
              <a:gd name="connsiteX20-1747" fmla="*/ 261649 w 483288"/>
              <a:gd name="connsiteY20-1748" fmla="*/ 15232 h 766477"/>
              <a:gd name="connsiteX21-1749" fmla="*/ 217672 w 483288"/>
              <a:gd name="connsiteY21-1750" fmla="*/ 3239 h 766477"/>
              <a:gd name="connsiteX22-1751" fmla="*/ 164949 w 483288"/>
              <a:gd name="connsiteY22-1752" fmla="*/ 276 h 766477"/>
              <a:gd name="connsiteX23-1753" fmla="*/ 98879 w 483288"/>
              <a:gd name="connsiteY23-1754" fmla="*/ 9958 h 766477"/>
              <a:gd name="connsiteX24-1755" fmla="*/ 0 w 483288"/>
              <a:gd name="connsiteY24-1756" fmla="*/ 53638 h 766477"/>
              <a:gd name="connsiteX0-1757" fmla="*/ 161352 w 547631"/>
              <a:gd name="connsiteY0-1758" fmla="*/ 766477 h 766477"/>
              <a:gd name="connsiteX1-1759" fmla="*/ 254067 w 547631"/>
              <a:gd name="connsiteY1-1760" fmla="*/ 751685 h 766477"/>
              <a:gd name="connsiteX2-1761" fmla="*/ 354468 w 547631"/>
              <a:gd name="connsiteY2-1762" fmla="*/ 694087 h 766477"/>
              <a:gd name="connsiteX3-1763" fmla="*/ 362867 w 547631"/>
              <a:gd name="connsiteY3-1764" fmla="*/ 678732 h 766477"/>
              <a:gd name="connsiteX4-1765" fmla="*/ 385653 w 547631"/>
              <a:gd name="connsiteY4-1766" fmla="*/ 664308 h 766477"/>
              <a:gd name="connsiteX5-1767" fmla="*/ 402437 w 547631"/>
              <a:gd name="connsiteY5-1768" fmla="*/ 641215 h 766477"/>
              <a:gd name="connsiteX6-1769" fmla="*/ 416449 w 547631"/>
              <a:gd name="connsiteY6-1770" fmla="*/ 617258 h 766477"/>
              <a:gd name="connsiteX7-1771" fmla="*/ 434315 w 547631"/>
              <a:gd name="connsiteY7-1772" fmla="*/ 593384 h 766477"/>
              <a:gd name="connsiteX8-1773" fmla="*/ 452845 w 547631"/>
              <a:gd name="connsiteY8-1774" fmla="*/ 553406 h 766477"/>
              <a:gd name="connsiteX9-1775" fmla="*/ 470703 w 547631"/>
              <a:gd name="connsiteY9-1776" fmla="*/ 501371 h 766477"/>
              <a:gd name="connsiteX10-1777" fmla="*/ 483253 w 547631"/>
              <a:gd name="connsiteY10-1778" fmla="*/ 353679 h 766477"/>
              <a:gd name="connsiteX11-1779" fmla="*/ 475242 w 547631"/>
              <a:gd name="connsiteY11-1780" fmla="*/ 294169 h 766477"/>
              <a:gd name="connsiteX12-1781" fmla="*/ 547355 w 547631"/>
              <a:gd name="connsiteY12-1782" fmla="*/ 279278 h 766477"/>
              <a:gd name="connsiteX13-1783" fmla="*/ 426054 w 547631"/>
              <a:gd name="connsiteY13-1784" fmla="*/ 160207 h 766477"/>
              <a:gd name="connsiteX14-1785" fmla="*/ 408827 w 547631"/>
              <a:gd name="connsiteY14-1786" fmla="*/ 134770 h 766477"/>
              <a:gd name="connsiteX15-1787" fmla="*/ 391252 w 547631"/>
              <a:gd name="connsiteY15-1788" fmla="*/ 109798 h 766477"/>
              <a:gd name="connsiteX16-1789" fmla="*/ 362438 w 547631"/>
              <a:gd name="connsiteY16-1790" fmla="*/ 82447 h 766477"/>
              <a:gd name="connsiteX17-1791" fmla="*/ 338682 w 547631"/>
              <a:gd name="connsiteY17-1792" fmla="*/ 59587 h 766477"/>
              <a:gd name="connsiteX18-1793" fmla="*/ 301662 w 547631"/>
              <a:gd name="connsiteY18-1794" fmla="*/ 35863 h 766477"/>
              <a:gd name="connsiteX19-1795" fmla="*/ 309928 w 547631"/>
              <a:gd name="connsiteY19-1796" fmla="*/ 40192 h 766477"/>
              <a:gd name="connsiteX20-1797" fmla="*/ 261649 w 547631"/>
              <a:gd name="connsiteY20-1798" fmla="*/ 15232 h 766477"/>
              <a:gd name="connsiteX21-1799" fmla="*/ 217672 w 547631"/>
              <a:gd name="connsiteY21-1800" fmla="*/ 3239 h 766477"/>
              <a:gd name="connsiteX22-1801" fmla="*/ 164949 w 547631"/>
              <a:gd name="connsiteY22-1802" fmla="*/ 276 h 766477"/>
              <a:gd name="connsiteX23-1803" fmla="*/ 98879 w 547631"/>
              <a:gd name="connsiteY23-1804" fmla="*/ 9958 h 766477"/>
              <a:gd name="connsiteX24-1805" fmla="*/ 0 w 547631"/>
              <a:gd name="connsiteY24-1806" fmla="*/ 53638 h 766477"/>
              <a:gd name="connsiteX0-1807" fmla="*/ 161352 w 483288"/>
              <a:gd name="connsiteY0-1808" fmla="*/ 766477 h 766477"/>
              <a:gd name="connsiteX1-1809" fmla="*/ 254067 w 483288"/>
              <a:gd name="connsiteY1-1810" fmla="*/ 751685 h 766477"/>
              <a:gd name="connsiteX2-1811" fmla="*/ 354468 w 483288"/>
              <a:gd name="connsiteY2-1812" fmla="*/ 694087 h 766477"/>
              <a:gd name="connsiteX3-1813" fmla="*/ 362867 w 483288"/>
              <a:gd name="connsiteY3-1814" fmla="*/ 678732 h 766477"/>
              <a:gd name="connsiteX4-1815" fmla="*/ 385653 w 483288"/>
              <a:gd name="connsiteY4-1816" fmla="*/ 664308 h 766477"/>
              <a:gd name="connsiteX5-1817" fmla="*/ 402437 w 483288"/>
              <a:gd name="connsiteY5-1818" fmla="*/ 641215 h 766477"/>
              <a:gd name="connsiteX6-1819" fmla="*/ 416449 w 483288"/>
              <a:gd name="connsiteY6-1820" fmla="*/ 617258 h 766477"/>
              <a:gd name="connsiteX7-1821" fmla="*/ 434315 w 483288"/>
              <a:gd name="connsiteY7-1822" fmla="*/ 593384 h 766477"/>
              <a:gd name="connsiteX8-1823" fmla="*/ 452845 w 483288"/>
              <a:gd name="connsiteY8-1824" fmla="*/ 553406 h 766477"/>
              <a:gd name="connsiteX9-1825" fmla="*/ 470703 w 483288"/>
              <a:gd name="connsiteY9-1826" fmla="*/ 501371 h 766477"/>
              <a:gd name="connsiteX10-1827" fmla="*/ 483253 w 483288"/>
              <a:gd name="connsiteY10-1828" fmla="*/ 353679 h 766477"/>
              <a:gd name="connsiteX11-1829" fmla="*/ 475242 w 483288"/>
              <a:gd name="connsiteY11-1830" fmla="*/ 294169 h 766477"/>
              <a:gd name="connsiteX12-1831" fmla="*/ 464473 w 483288"/>
              <a:gd name="connsiteY12-1832" fmla="*/ 229534 h 766477"/>
              <a:gd name="connsiteX13-1833" fmla="*/ 426054 w 483288"/>
              <a:gd name="connsiteY13-1834" fmla="*/ 160207 h 766477"/>
              <a:gd name="connsiteX14-1835" fmla="*/ 408827 w 483288"/>
              <a:gd name="connsiteY14-1836" fmla="*/ 134770 h 766477"/>
              <a:gd name="connsiteX15-1837" fmla="*/ 391252 w 483288"/>
              <a:gd name="connsiteY15-1838" fmla="*/ 109798 h 766477"/>
              <a:gd name="connsiteX16-1839" fmla="*/ 362438 w 483288"/>
              <a:gd name="connsiteY16-1840" fmla="*/ 82447 h 766477"/>
              <a:gd name="connsiteX17-1841" fmla="*/ 338682 w 483288"/>
              <a:gd name="connsiteY17-1842" fmla="*/ 59587 h 766477"/>
              <a:gd name="connsiteX18-1843" fmla="*/ 301662 w 483288"/>
              <a:gd name="connsiteY18-1844" fmla="*/ 35863 h 766477"/>
              <a:gd name="connsiteX19-1845" fmla="*/ 309928 w 483288"/>
              <a:gd name="connsiteY19-1846" fmla="*/ 40192 h 766477"/>
              <a:gd name="connsiteX20-1847" fmla="*/ 261649 w 483288"/>
              <a:gd name="connsiteY20-1848" fmla="*/ 15232 h 766477"/>
              <a:gd name="connsiteX21-1849" fmla="*/ 217672 w 483288"/>
              <a:gd name="connsiteY21-1850" fmla="*/ 3239 h 766477"/>
              <a:gd name="connsiteX22-1851" fmla="*/ 164949 w 483288"/>
              <a:gd name="connsiteY22-1852" fmla="*/ 276 h 766477"/>
              <a:gd name="connsiteX23-1853" fmla="*/ 98879 w 483288"/>
              <a:gd name="connsiteY23-1854" fmla="*/ 9958 h 766477"/>
              <a:gd name="connsiteX24-1855" fmla="*/ 0 w 483288"/>
              <a:gd name="connsiteY24-1856" fmla="*/ 53638 h 766477"/>
              <a:gd name="connsiteX0-1857" fmla="*/ 161352 w 483288"/>
              <a:gd name="connsiteY0-1858" fmla="*/ 766477 h 766477"/>
              <a:gd name="connsiteX1-1859" fmla="*/ 254067 w 483288"/>
              <a:gd name="connsiteY1-1860" fmla="*/ 751685 h 766477"/>
              <a:gd name="connsiteX2-1861" fmla="*/ 354468 w 483288"/>
              <a:gd name="connsiteY2-1862" fmla="*/ 694087 h 766477"/>
              <a:gd name="connsiteX3-1863" fmla="*/ 362867 w 483288"/>
              <a:gd name="connsiteY3-1864" fmla="*/ 678732 h 766477"/>
              <a:gd name="connsiteX4-1865" fmla="*/ 385653 w 483288"/>
              <a:gd name="connsiteY4-1866" fmla="*/ 664308 h 766477"/>
              <a:gd name="connsiteX5-1867" fmla="*/ 402437 w 483288"/>
              <a:gd name="connsiteY5-1868" fmla="*/ 641215 h 766477"/>
              <a:gd name="connsiteX6-1869" fmla="*/ 416449 w 483288"/>
              <a:gd name="connsiteY6-1870" fmla="*/ 617258 h 766477"/>
              <a:gd name="connsiteX7-1871" fmla="*/ 434315 w 483288"/>
              <a:gd name="connsiteY7-1872" fmla="*/ 593384 h 766477"/>
              <a:gd name="connsiteX8-1873" fmla="*/ 452845 w 483288"/>
              <a:gd name="connsiteY8-1874" fmla="*/ 553406 h 766477"/>
              <a:gd name="connsiteX9-1875" fmla="*/ 470703 w 483288"/>
              <a:gd name="connsiteY9-1876" fmla="*/ 501371 h 766477"/>
              <a:gd name="connsiteX10-1877" fmla="*/ 483253 w 483288"/>
              <a:gd name="connsiteY10-1878" fmla="*/ 353679 h 766477"/>
              <a:gd name="connsiteX11-1879" fmla="*/ 475242 w 483288"/>
              <a:gd name="connsiteY11-1880" fmla="*/ 294169 h 766477"/>
              <a:gd name="connsiteX12-1881" fmla="*/ 464473 w 483288"/>
              <a:gd name="connsiteY12-1882" fmla="*/ 229534 h 766477"/>
              <a:gd name="connsiteX13-1883" fmla="*/ 426054 w 483288"/>
              <a:gd name="connsiteY13-1884" fmla="*/ 160207 h 766477"/>
              <a:gd name="connsiteX14-1885" fmla="*/ 408827 w 483288"/>
              <a:gd name="connsiteY14-1886" fmla="*/ 134770 h 766477"/>
              <a:gd name="connsiteX15-1887" fmla="*/ 391252 w 483288"/>
              <a:gd name="connsiteY15-1888" fmla="*/ 109798 h 766477"/>
              <a:gd name="connsiteX16-1889" fmla="*/ 362438 w 483288"/>
              <a:gd name="connsiteY16-1890" fmla="*/ 82447 h 766477"/>
              <a:gd name="connsiteX17-1891" fmla="*/ 338682 w 483288"/>
              <a:gd name="connsiteY17-1892" fmla="*/ 59587 h 766477"/>
              <a:gd name="connsiteX18-1893" fmla="*/ 301662 w 483288"/>
              <a:gd name="connsiteY18-1894" fmla="*/ 35863 h 766477"/>
              <a:gd name="connsiteX19-1895" fmla="*/ 309928 w 483288"/>
              <a:gd name="connsiteY19-1896" fmla="*/ 40192 h 766477"/>
              <a:gd name="connsiteX20-1897" fmla="*/ 261649 w 483288"/>
              <a:gd name="connsiteY20-1898" fmla="*/ 15232 h 766477"/>
              <a:gd name="connsiteX21-1899" fmla="*/ 217672 w 483288"/>
              <a:gd name="connsiteY21-1900" fmla="*/ 3239 h 766477"/>
              <a:gd name="connsiteX22-1901" fmla="*/ 164949 w 483288"/>
              <a:gd name="connsiteY22-1902" fmla="*/ 276 h 766477"/>
              <a:gd name="connsiteX23-1903" fmla="*/ 98879 w 483288"/>
              <a:gd name="connsiteY23-1904" fmla="*/ 9958 h 766477"/>
              <a:gd name="connsiteX24-1905" fmla="*/ 0 w 483288"/>
              <a:gd name="connsiteY24-1906" fmla="*/ 53638 h 766477"/>
              <a:gd name="connsiteX0-1907" fmla="*/ 161352 w 483288"/>
              <a:gd name="connsiteY0-1908" fmla="*/ 766477 h 766477"/>
              <a:gd name="connsiteX1-1909" fmla="*/ 254067 w 483288"/>
              <a:gd name="connsiteY1-1910" fmla="*/ 751685 h 766477"/>
              <a:gd name="connsiteX2-1911" fmla="*/ 354468 w 483288"/>
              <a:gd name="connsiteY2-1912" fmla="*/ 694087 h 766477"/>
              <a:gd name="connsiteX3-1913" fmla="*/ 362867 w 483288"/>
              <a:gd name="connsiteY3-1914" fmla="*/ 678732 h 766477"/>
              <a:gd name="connsiteX4-1915" fmla="*/ 385653 w 483288"/>
              <a:gd name="connsiteY4-1916" fmla="*/ 664308 h 766477"/>
              <a:gd name="connsiteX5-1917" fmla="*/ 402437 w 483288"/>
              <a:gd name="connsiteY5-1918" fmla="*/ 641215 h 766477"/>
              <a:gd name="connsiteX6-1919" fmla="*/ 416449 w 483288"/>
              <a:gd name="connsiteY6-1920" fmla="*/ 617258 h 766477"/>
              <a:gd name="connsiteX7-1921" fmla="*/ 434315 w 483288"/>
              <a:gd name="connsiteY7-1922" fmla="*/ 593384 h 766477"/>
              <a:gd name="connsiteX8-1923" fmla="*/ 452845 w 483288"/>
              <a:gd name="connsiteY8-1924" fmla="*/ 553406 h 766477"/>
              <a:gd name="connsiteX9-1925" fmla="*/ 470703 w 483288"/>
              <a:gd name="connsiteY9-1926" fmla="*/ 501371 h 766477"/>
              <a:gd name="connsiteX10-1927" fmla="*/ 483253 w 483288"/>
              <a:gd name="connsiteY10-1928" fmla="*/ 353679 h 766477"/>
              <a:gd name="connsiteX11-1929" fmla="*/ 475242 w 483288"/>
              <a:gd name="connsiteY11-1930" fmla="*/ 294169 h 766477"/>
              <a:gd name="connsiteX12-1931" fmla="*/ 434190 w 483288"/>
              <a:gd name="connsiteY12-1932" fmla="*/ 156830 h 766477"/>
              <a:gd name="connsiteX13-1933" fmla="*/ 426054 w 483288"/>
              <a:gd name="connsiteY13-1934" fmla="*/ 160207 h 766477"/>
              <a:gd name="connsiteX14-1935" fmla="*/ 408827 w 483288"/>
              <a:gd name="connsiteY14-1936" fmla="*/ 134770 h 766477"/>
              <a:gd name="connsiteX15-1937" fmla="*/ 391252 w 483288"/>
              <a:gd name="connsiteY15-1938" fmla="*/ 109798 h 766477"/>
              <a:gd name="connsiteX16-1939" fmla="*/ 362438 w 483288"/>
              <a:gd name="connsiteY16-1940" fmla="*/ 82447 h 766477"/>
              <a:gd name="connsiteX17-1941" fmla="*/ 338682 w 483288"/>
              <a:gd name="connsiteY17-1942" fmla="*/ 59587 h 766477"/>
              <a:gd name="connsiteX18-1943" fmla="*/ 301662 w 483288"/>
              <a:gd name="connsiteY18-1944" fmla="*/ 35863 h 766477"/>
              <a:gd name="connsiteX19-1945" fmla="*/ 309928 w 483288"/>
              <a:gd name="connsiteY19-1946" fmla="*/ 40192 h 766477"/>
              <a:gd name="connsiteX20-1947" fmla="*/ 261649 w 483288"/>
              <a:gd name="connsiteY20-1948" fmla="*/ 15232 h 766477"/>
              <a:gd name="connsiteX21-1949" fmla="*/ 217672 w 483288"/>
              <a:gd name="connsiteY21-1950" fmla="*/ 3239 h 766477"/>
              <a:gd name="connsiteX22-1951" fmla="*/ 164949 w 483288"/>
              <a:gd name="connsiteY22-1952" fmla="*/ 276 h 766477"/>
              <a:gd name="connsiteX23-1953" fmla="*/ 98879 w 483288"/>
              <a:gd name="connsiteY23-1954" fmla="*/ 9958 h 766477"/>
              <a:gd name="connsiteX24-1955" fmla="*/ 0 w 483288"/>
              <a:gd name="connsiteY24-1956" fmla="*/ 53638 h 766477"/>
              <a:gd name="connsiteX0-1957" fmla="*/ 161352 w 483288"/>
              <a:gd name="connsiteY0-1958" fmla="*/ 766477 h 766477"/>
              <a:gd name="connsiteX1-1959" fmla="*/ 254067 w 483288"/>
              <a:gd name="connsiteY1-1960" fmla="*/ 751685 h 766477"/>
              <a:gd name="connsiteX2-1961" fmla="*/ 354468 w 483288"/>
              <a:gd name="connsiteY2-1962" fmla="*/ 694087 h 766477"/>
              <a:gd name="connsiteX3-1963" fmla="*/ 362867 w 483288"/>
              <a:gd name="connsiteY3-1964" fmla="*/ 678732 h 766477"/>
              <a:gd name="connsiteX4-1965" fmla="*/ 385653 w 483288"/>
              <a:gd name="connsiteY4-1966" fmla="*/ 664308 h 766477"/>
              <a:gd name="connsiteX5-1967" fmla="*/ 402437 w 483288"/>
              <a:gd name="connsiteY5-1968" fmla="*/ 641215 h 766477"/>
              <a:gd name="connsiteX6-1969" fmla="*/ 416449 w 483288"/>
              <a:gd name="connsiteY6-1970" fmla="*/ 617258 h 766477"/>
              <a:gd name="connsiteX7-1971" fmla="*/ 434315 w 483288"/>
              <a:gd name="connsiteY7-1972" fmla="*/ 593384 h 766477"/>
              <a:gd name="connsiteX8-1973" fmla="*/ 452845 w 483288"/>
              <a:gd name="connsiteY8-1974" fmla="*/ 553406 h 766477"/>
              <a:gd name="connsiteX9-1975" fmla="*/ 470703 w 483288"/>
              <a:gd name="connsiteY9-1976" fmla="*/ 501371 h 766477"/>
              <a:gd name="connsiteX10-1977" fmla="*/ 483253 w 483288"/>
              <a:gd name="connsiteY10-1978" fmla="*/ 353679 h 766477"/>
              <a:gd name="connsiteX11-1979" fmla="*/ 475242 w 483288"/>
              <a:gd name="connsiteY11-1980" fmla="*/ 294169 h 766477"/>
              <a:gd name="connsiteX12-1981" fmla="*/ 426054 w 483288"/>
              <a:gd name="connsiteY12-1982" fmla="*/ 160207 h 766477"/>
              <a:gd name="connsiteX13-1983" fmla="*/ 408827 w 483288"/>
              <a:gd name="connsiteY13-1984" fmla="*/ 134770 h 766477"/>
              <a:gd name="connsiteX14-1985" fmla="*/ 391252 w 483288"/>
              <a:gd name="connsiteY14-1986" fmla="*/ 109798 h 766477"/>
              <a:gd name="connsiteX15-1987" fmla="*/ 362438 w 483288"/>
              <a:gd name="connsiteY15-1988" fmla="*/ 82447 h 766477"/>
              <a:gd name="connsiteX16-1989" fmla="*/ 338682 w 483288"/>
              <a:gd name="connsiteY16-1990" fmla="*/ 59587 h 766477"/>
              <a:gd name="connsiteX17-1991" fmla="*/ 301662 w 483288"/>
              <a:gd name="connsiteY17-1992" fmla="*/ 35863 h 766477"/>
              <a:gd name="connsiteX18-1993" fmla="*/ 309928 w 483288"/>
              <a:gd name="connsiteY18-1994" fmla="*/ 40192 h 766477"/>
              <a:gd name="connsiteX19-1995" fmla="*/ 261649 w 483288"/>
              <a:gd name="connsiteY19-1996" fmla="*/ 15232 h 766477"/>
              <a:gd name="connsiteX20-1997" fmla="*/ 217672 w 483288"/>
              <a:gd name="connsiteY20-1998" fmla="*/ 3239 h 766477"/>
              <a:gd name="connsiteX21-1999" fmla="*/ 164949 w 483288"/>
              <a:gd name="connsiteY21-2000" fmla="*/ 276 h 766477"/>
              <a:gd name="connsiteX22-2001" fmla="*/ 98879 w 483288"/>
              <a:gd name="connsiteY22-2002" fmla="*/ 9958 h 766477"/>
              <a:gd name="connsiteX23-2003" fmla="*/ 0 w 483288"/>
              <a:gd name="connsiteY23-2004" fmla="*/ 53638 h 766477"/>
              <a:gd name="connsiteX0-2005" fmla="*/ 161352 w 483288"/>
              <a:gd name="connsiteY0-2006" fmla="*/ 766477 h 766477"/>
              <a:gd name="connsiteX1-2007" fmla="*/ 254067 w 483288"/>
              <a:gd name="connsiteY1-2008" fmla="*/ 751685 h 766477"/>
              <a:gd name="connsiteX2-2009" fmla="*/ 354468 w 483288"/>
              <a:gd name="connsiteY2-2010" fmla="*/ 694087 h 766477"/>
              <a:gd name="connsiteX3-2011" fmla="*/ 362867 w 483288"/>
              <a:gd name="connsiteY3-2012" fmla="*/ 678732 h 766477"/>
              <a:gd name="connsiteX4-2013" fmla="*/ 385653 w 483288"/>
              <a:gd name="connsiteY4-2014" fmla="*/ 664308 h 766477"/>
              <a:gd name="connsiteX5-2015" fmla="*/ 402437 w 483288"/>
              <a:gd name="connsiteY5-2016" fmla="*/ 641215 h 766477"/>
              <a:gd name="connsiteX6-2017" fmla="*/ 416449 w 483288"/>
              <a:gd name="connsiteY6-2018" fmla="*/ 617258 h 766477"/>
              <a:gd name="connsiteX7-2019" fmla="*/ 434315 w 483288"/>
              <a:gd name="connsiteY7-2020" fmla="*/ 593384 h 766477"/>
              <a:gd name="connsiteX8-2021" fmla="*/ 452845 w 483288"/>
              <a:gd name="connsiteY8-2022" fmla="*/ 553406 h 766477"/>
              <a:gd name="connsiteX9-2023" fmla="*/ 470703 w 483288"/>
              <a:gd name="connsiteY9-2024" fmla="*/ 501371 h 766477"/>
              <a:gd name="connsiteX10-2025" fmla="*/ 483253 w 483288"/>
              <a:gd name="connsiteY10-2026" fmla="*/ 353679 h 766477"/>
              <a:gd name="connsiteX11-2027" fmla="*/ 475242 w 483288"/>
              <a:gd name="connsiteY11-2028" fmla="*/ 294169 h 766477"/>
              <a:gd name="connsiteX12-2029" fmla="*/ 456629 w 483288"/>
              <a:gd name="connsiteY12-2030" fmla="*/ 222214 h 766477"/>
              <a:gd name="connsiteX13-2031" fmla="*/ 426054 w 483288"/>
              <a:gd name="connsiteY13-2032" fmla="*/ 160207 h 766477"/>
              <a:gd name="connsiteX14-2033" fmla="*/ 408827 w 483288"/>
              <a:gd name="connsiteY14-2034" fmla="*/ 134770 h 766477"/>
              <a:gd name="connsiteX15-2035" fmla="*/ 391252 w 483288"/>
              <a:gd name="connsiteY15-2036" fmla="*/ 109798 h 766477"/>
              <a:gd name="connsiteX16-2037" fmla="*/ 362438 w 483288"/>
              <a:gd name="connsiteY16-2038" fmla="*/ 82447 h 766477"/>
              <a:gd name="connsiteX17-2039" fmla="*/ 338682 w 483288"/>
              <a:gd name="connsiteY17-2040" fmla="*/ 59587 h 766477"/>
              <a:gd name="connsiteX18-2041" fmla="*/ 301662 w 483288"/>
              <a:gd name="connsiteY18-2042" fmla="*/ 35863 h 766477"/>
              <a:gd name="connsiteX19-2043" fmla="*/ 309928 w 483288"/>
              <a:gd name="connsiteY19-2044" fmla="*/ 40192 h 766477"/>
              <a:gd name="connsiteX20-2045" fmla="*/ 261649 w 483288"/>
              <a:gd name="connsiteY20-2046" fmla="*/ 15232 h 766477"/>
              <a:gd name="connsiteX21-2047" fmla="*/ 217672 w 483288"/>
              <a:gd name="connsiteY21-2048" fmla="*/ 3239 h 766477"/>
              <a:gd name="connsiteX22-2049" fmla="*/ 164949 w 483288"/>
              <a:gd name="connsiteY22-2050" fmla="*/ 276 h 766477"/>
              <a:gd name="connsiteX23-2051" fmla="*/ 98879 w 483288"/>
              <a:gd name="connsiteY23-2052" fmla="*/ 9958 h 766477"/>
              <a:gd name="connsiteX24-2053" fmla="*/ 0 w 483288"/>
              <a:gd name="connsiteY24-2054" fmla="*/ 53638 h 766477"/>
              <a:gd name="connsiteX0-2055" fmla="*/ 161352 w 483288"/>
              <a:gd name="connsiteY0-2056" fmla="*/ 766477 h 766477"/>
              <a:gd name="connsiteX1-2057" fmla="*/ 254067 w 483288"/>
              <a:gd name="connsiteY1-2058" fmla="*/ 751685 h 766477"/>
              <a:gd name="connsiteX2-2059" fmla="*/ 354468 w 483288"/>
              <a:gd name="connsiteY2-2060" fmla="*/ 694087 h 766477"/>
              <a:gd name="connsiteX3-2061" fmla="*/ 356492 w 483288"/>
              <a:gd name="connsiteY3-2062" fmla="*/ 680645 h 766477"/>
              <a:gd name="connsiteX4-2063" fmla="*/ 385653 w 483288"/>
              <a:gd name="connsiteY4-2064" fmla="*/ 664308 h 766477"/>
              <a:gd name="connsiteX5-2065" fmla="*/ 402437 w 483288"/>
              <a:gd name="connsiteY5-2066" fmla="*/ 641215 h 766477"/>
              <a:gd name="connsiteX6-2067" fmla="*/ 416449 w 483288"/>
              <a:gd name="connsiteY6-2068" fmla="*/ 617258 h 766477"/>
              <a:gd name="connsiteX7-2069" fmla="*/ 434315 w 483288"/>
              <a:gd name="connsiteY7-2070" fmla="*/ 593384 h 766477"/>
              <a:gd name="connsiteX8-2071" fmla="*/ 452845 w 483288"/>
              <a:gd name="connsiteY8-2072" fmla="*/ 553406 h 766477"/>
              <a:gd name="connsiteX9-2073" fmla="*/ 470703 w 483288"/>
              <a:gd name="connsiteY9-2074" fmla="*/ 501371 h 766477"/>
              <a:gd name="connsiteX10-2075" fmla="*/ 483253 w 483288"/>
              <a:gd name="connsiteY10-2076" fmla="*/ 353679 h 766477"/>
              <a:gd name="connsiteX11-2077" fmla="*/ 475242 w 483288"/>
              <a:gd name="connsiteY11-2078" fmla="*/ 294169 h 766477"/>
              <a:gd name="connsiteX12-2079" fmla="*/ 456629 w 483288"/>
              <a:gd name="connsiteY12-2080" fmla="*/ 222214 h 766477"/>
              <a:gd name="connsiteX13-2081" fmla="*/ 426054 w 483288"/>
              <a:gd name="connsiteY13-2082" fmla="*/ 160207 h 766477"/>
              <a:gd name="connsiteX14-2083" fmla="*/ 408827 w 483288"/>
              <a:gd name="connsiteY14-2084" fmla="*/ 134770 h 766477"/>
              <a:gd name="connsiteX15-2085" fmla="*/ 391252 w 483288"/>
              <a:gd name="connsiteY15-2086" fmla="*/ 109798 h 766477"/>
              <a:gd name="connsiteX16-2087" fmla="*/ 362438 w 483288"/>
              <a:gd name="connsiteY16-2088" fmla="*/ 82447 h 766477"/>
              <a:gd name="connsiteX17-2089" fmla="*/ 338682 w 483288"/>
              <a:gd name="connsiteY17-2090" fmla="*/ 59587 h 766477"/>
              <a:gd name="connsiteX18-2091" fmla="*/ 301662 w 483288"/>
              <a:gd name="connsiteY18-2092" fmla="*/ 35863 h 766477"/>
              <a:gd name="connsiteX19-2093" fmla="*/ 309928 w 483288"/>
              <a:gd name="connsiteY19-2094" fmla="*/ 40192 h 766477"/>
              <a:gd name="connsiteX20-2095" fmla="*/ 261649 w 483288"/>
              <a:gd name="connsiteY20-2096" fmla="*/ 15232 h 766477"/>
              <a:gd name="connsiteX21-2097" fmla="*/ 217672 w 483288"/>
              <a:gd name="connsiteY21-2098" fmla="*/ 3239 h 766477"/>
              <a:gd name="connsiteX22-2099" fmla="*/ 164949 w 483288"/>
              <a:gd name="connsiteY22-2100" fmla="*/ 276 h 766477"/>
              <a:gd name="connsiteX23-2101" fmla="*/ 98879 w 483288"/>
              <a:gd name="connsiteY23-2102" fmla="*/ 9958 h 766477"/>
              <a:gd name="connsiteX24-2103" fmla="*/ 0 w 483288"/>
              <a:gd name="connsiteY24-2104" fmla="*/ 53638 h 766477"/>
              <a:gd name="connsiteX0-2105" fmla="*/ 161352 w 483288"/>
              <a:gd name="connsiteY0-2106" fmla="*/ 766477 h 766477"/>
              <a:gd name="connsiteX1-2107" fmla="*/ 254067 w 483288"/>
              <a:gd name="connsiteY1-2108" fmla="*/ 751685 h 766477"/>
              <a:gd name="connsiteX2-2109" fmla="*/ 354468 w 483288"/>
              <a:gd name="connsiteY2-2110" fmla="*/ 694087 h 766477"/>
              <a:gd name="connsiteX3-2111" fmla="*/ 385653 w 483288"/>
              <a:gd name="connsiteY3-2112" fmla="*/ 664308 h 766477"/>
              <a:gd name="connsiteX4-2113" fmla="*/ 402437 w 483288"/>
              <a:gd name="connsiteY4-2114" fmla="*/ 641215 h 766477"/>
              <a:gd name="connsiteX5-2115" fmla="*/ 416449 w 483288"/>
              <a:gd name="connsiteY5-2116" fmla="*/ 617258 h 766477"/>
              <a:gd name="connsiteX6-2117" fmla="*/ 434315 w 483288"/>
              <a:gd name="connsiteY6-2118" fmla="*/ 593384 h 766477"/>
              <a:gd name="connsiteX7-2119" fmla="*/ 452845 w 483288"/>
              <a:gd name="connsiteY7-2120" fmla="*/ 553406 h 766477"/>
              <a:gd name="connsiteX8-2121" fmla="*/ 470703 w 483288"/>
              <a:gd name="connsiteY8-2122" fmla="*/ 501371 h 766477"/>
              <a:gd name="connsiteX9-2123" fmla="*/ 483253 w 483288"/>
              <a:gd name="connsiteY9-2124" fmla="*/ 353679 h 766477"/>
              <a:gd name="connsiteX10-2125" fmla="*/ 475242 w 483288"/>
              <a:gd name="connsiteY10-2126" fmla="*/ 294169 h 766477"/>
              <a:gd name="connsiteX11-2127" fmla="*/ 456629 w 483288"/>
              <a:gd name="connsiteY11-2128" fmla="*/ 222214 h 766477"/>
              <a:gd name="connsiteX12-2129" fmla="*/ 426054 w 483288"/>
              <a:gd name="connsiteY12-2130" fmla="*/ 160207 h 766477"/>
              <a:gd name="connsiteX13-2131" fmla="*/ 408827 w 483288"/>
              <a:gd name="connsiteY13-2132" fmla="*/ 134770 h 766477"/>
              <a:gd name="connsiteX14-2133" fmla="*/ 391252 w 483288"/>
              <a:gd name="connsiteY14-2134" fmla="*/ 109798 h 766477"/>
              <a:gd name="connsiteX15-2135" fmla="*/ 362438 w 483288"/>
              <a:gd name="connsiteY15-2136" fmla="*/ 82447 h 766477"/>
              <a:gd name="connsiteX16-2137" fmla="*/ 338682 w 483288"/>
              <a:gd name="connsiteY16-2138" fmla="*/ 59587 h 766477"/>
              <a:gd name="connsiteX17-2139" fmla="*/ 301662 w 483288"/>
              <a:gd name="connsiteY17-2140" fmla="*/ 35863 h 766477"/>
              <a:gd name="connsiteX18-2141" fmla="*/ 309928 w 483288"/>
              <a:gd name="connsiteY18-2142" fmla="*/ 40192 h 766477"/>
              <a:gd name="connsiteX19-2143" fmla="*/ 261649 w 483288"/>
              <a:gd name="connsiteY19-2144" fmla="*/ 15232 h 766477"/>
              <a:gd name="connsiteX20-2145" fmla="*/ 217672 w 483288"/>
              <a:gd name="connsiteY20-2146" fmla="*/ 3239 h 766477"/>
              <a:gd name="connsiteX21-2147" fmla="*/ 164949 w 483288"/>
              <a:gd name="connsiteY21-2148" fmla="*/ 276 h 766477"/>
              <a:gd name="connsiteX22-2149" fmla="*/ 98879 w 483288"/>
              <a:gd name="connsiteY22-2150" fmla="*/ 9958 h 766477"/>
              <a:gd name="connsiteX23-2151" fmla="*/ 0 w 483288"/>
              <a:gd name="connsiteY23-2152" fmla="*/ 53638 h 766477"/>
              <a:gd name="connsiteX0-2153" fmla="*/ 161352 w 483288"/>
              <a:gd name="connsiteY0-2154" fmla="*/ 766477 h 766477"/>
              <a:gd name="connsiteX1-2155" fmla="*/ 254067 w 483288"/>
              <a:gd name="connsiteY1-2156" fmla="*/ 751685 h 766477"/>
              <a:gd name="connsiteX2-2157" fmla="*/ 354468 w 483288"/>
              <a:gd name="connsiteY2-2158" fmla="*/ 694087 h 766477"/>
              <a:gd name="connsiteX3-2159" fmla="*/ 385653 w 483288"/>
              <a:gd name="connsiteY3-2160" fmla="*/ 664308 h 766477"/>
              <a:gd name="connsiteX4-2161" fmla="*/ 402437 w 483288"/>
              <a:gd name="connsiteY4-2162" fmla="*/ 641215 h 766477"/>
              <a:gd name="connsiteX5-2163" fmla="*/ 434315 w 483288"/>
              <a:gd name="connsiteY5-2164" fmla="*/ 593384 h 766477"/>
              <a:gd name="connsiteX6-2165" fmla="*/ 452845 w 483288"/>
              <a:gd name="connsiteY6-2166" fmla="*/ 553406 h 766477"/>
              <a:gd name="connsiteX7-2167" fmla="*/ 470703 w 483288"/>
              <a:gd name="connsiteY7-2168" fmla="*/ 501371 h 766477"/>
              <a:gd name="connsiteX8-2169" fmla="*/ 483253 w 483288"/>
              <a:gd name="connsiteY8-2170" fmla="*/ 353679 h 766477"/>
              <a:gd name="connsiteX9-2171" fmla="*/ 475242 w 483288"/>
              <a:gd name="connsiteY9-2172" fmla="*/ 294169 h 766477"/>
              <a:gd name="connsiteX10-2173" fmla="*/ 456629 w 483288"/>
              <a:gd name="connsiteY10-2174" fmla="*/ 222214 h 766477"/>
              <a:gd name="connsiteX11-2175" fmla="*/ 426054 w 483288"/>
              <a:gd name="connsiteY11-2176" fmla="*/ 160207 h 766477"/>
              <a:gd name="connsiteX12-2177" fmla="*/ 408827 w 483288"/>
              <a:gd name="connsiteY12-2178" fmla="*/ 134770 h 766477"/>
              <a:gd name="connsiteX13-2179" fmla="*/ 391252 w 483288"/>
              <a:gd name="connsiteY13-2180" fmla="*/ 109798 h 766477"/>
              <a:gd name="connsiteX14-2181" fmla="*/ 362438 w 483288"/>
              <a:gd name="connsiteY14-2182" fmla="*/ 82447 h 766477"/>
              <a:gd name="connsiteX15-2183" fmla="*/ 338682 w 483288"/>
              <a:gd name="connsiteY15-2184" fmla="*/ 59587 h 766477"/>
              <a:gd name="connsiteX16-2185" fmla="*/ 301662 w 483288"/>
              <a:gd name="connsiteY16-2186" fmla="*/ 35863 h 766477"/>
              <a:gd name="connsiteX17-2187" fmla="*/ 309928 w 483288"/>
              <a:gd name="connsiteY17-2188" fmla="*/ 40192 h 766477"/>
              <a:gd name="connsiteX18-2189" fmla="*/ 261649 w 483288"/>
              <a:gd name="connsiteY18-2190" fmla="*/ 15232 h 766477"/>
              <a:gd name="connsiteX19-2191" fmla="*/ 217672 w 483288"/>
              <a:gd name="connsiteY19-2192" fmla="*/ 3239 h 766477"/>
              <a:gd name="connsiteX20-2193" fmla="*/ 164949 w 483288"/>
              <a:gd name="connsiteY20-2194" fmla="*/ 276 h 766477"/>
              <a:gd name="connsiteX21-2195" fmla="*/ 98879 w 483288"/>
              <a:gd name="connsiteY21-2196" fmla="*/ 9958 h 766477"/>
              <a:gd name="connsiteX22-2197" fmla="*/ 0 w 483288"/>
              <a:gd name="connsiteY22-2198" fmla="*/ 53638 h 766477"/>
              <a:gd name="connsiteX0-2199" fmla="*/ 161352 w 483308"/>
              <a:gd name="connsiteY0-2200" fmla="*/ 766477 h 766477"/>
              <a:gd name="connsiteX1-2201" fmla="*/ 254067 w 483308"/>
              <a:gd name="connsiteY1-2202" fmla="*/ 751685 h 766477"/>
              <a:gd name="connsiteX2-2203" fmla="*/ 354468 w 483308"/>
              <a:gd name="connsiteY2-2204" fmla="*/ 694087 h 766477"/>
              <a:gd name="connsiteX3-2205" fmla="*/ 385653 w 483308"/>
              <a:gd name="connsiteY3-2206" fmla="*/ 664308 h 766477"/>
              <a:gd name="connsiteX4-2207" fmla="*/ 402437 w 483308"/>
              <a:gd name="connsiteY4-2208" fmla="*/ 641215 h 766477"/>
              <a:gd name="connsiteX5-2209" fmla="*/ 434315 w 483308"/>
              <a:gd name="connsiteY5-2210" fmla="*/ 593384 h 766477"/>
              <a:gd name="connsiteX6-2211" fmla="*/ 470703 w 483308"/>
              <a:gd name="connsiteY6-2212" fmla="*/ 501371 h 766477"/>
              <a:gd name="connsiteX7-2213" fmla="*/ 483253 w 483308"/>
              <a:gd name="connsiteY7-2214" fmla="*/ 353679 h 766477"/>
              <a:gd name="connsiteX8-2215" fmla="*/ 475242 w 483308"/>
              <a:gd name="connsiteY8-2216" fmla="*/ 294169 h 766477"/>
              <a:gd name="connsiteX9-2217" fmla="*/ 456629 w 483308"/>
              <a:gd name="connsiteY9-2218" fmla="*/ 222214 h 766477"/>
              <a:gd name="connsiteX10-2219" fmla="*/ 426054 w 483308"/>
              <a:gd name="connsiteY10-2220" fmla="*/ 160207 h 766477"/>
              <a:gd name="connsiteX11-2221" fmla="*/ 408827 w 483308"/>
              <a:gd name="connsiteY11-2222" fmla="*/ 134770 h 766477"/>
              <a:gd name="connsiteX12-2223" fmla="*/ 391252 w 483308"/>
              <a:gd name="connsiteY12-2224" fmla="*/ 109798 h 766477"/>
              <a:gd name="connsiteX13-2225" fmla="*/ 362438 w 483308"/>
              <a:gd name="connsiteY13-2226" fmla="*/ 82447 h 766477"/>
              <a:gd name="connsiteX14-2227" fmla="*/ 338682 w 483308"/>
              <a:gd name="connsiteY14-2228" fmla="*/ 59587 h 766477"/>
              <a:gd name="connsiteX15-2229" fmla="*/ 301662 w 483308"/>
              <a:gd name="connsiteY15-2230" fmla="*/ 35863 h 766477"/>
              <a:gd name="connsiteX16-2231" fmla="*/ 309928 w 483308"/>
              <a:gd name="connsiteY16-2232" fmla="*/ 40192 h 766477"/>
              <a:gd name="connsiteX17-2233" fmla="*/ 261649 w 483308"/>
              <a:gd name="connsiteY17-2234" fmla="*/ 15232 h 766477"/>
              <a:gd name="connsiteX18-2235" fmla="*/ 217672 w 483308"/>
              <a:gd name="connsiteY18-2236" fmla="*/ 3239 h 766477"/>
              <a:gd name="connsiteX19-2237" fmla="*/ 164949 w 483308"/>
              <a:gd name="connsiteY19-2238" fmla="*/ 276 h 766477"/>
              <a:gd name="connsiteX20-2239" fmla="*/ 98879 w 483308"/>
              <a:gd name="connsiteY20-2240" fmla="*/ 9958 h 766477"/>
              <a:gd name="connsiteX21-2241" fmla="*/ 0 w 483308"/>
              <a:gd name="connsiteY21-2242" fmla="*/ 53638 h 766477"/>
              <a:gd name="connsiteX0-2243" fmla="*/ 161352 w 483308"/>
              <a:gd name="connsiteY0-2244" fmla="*/ 767636 h 767636"/>
              <a:gd name="connsiteX1-2245" fmla="*/ 254067 w 483308"/>
              <a:gd name="connsiteY1-2246" fmla="*/ 752844 h 767636"/>
              <a:gd name="connsiteX2-2247" fmla="*/ 354468 w 483308"/>
              <a:gd name="connsiteY2-2248" fmla="*/ 695246 h 767636"/>
              <a:gd name="connsiteX3-2249" fmla="*/ 385653 w 483308"/>
              <a:gd name="connsiteY3-2250" fmla="*/ 665467 h 767636"/>
              <a:gd name="connsiteX4-2251" fmla="*/ 402437 w 483308"/>
              <a:gd name="connsiteY4-2252" fmla="*/ 642374 h 767636"/>
              <a:gd name="connsiteX5-2253" fmla="*/ 434315 w 483308"/>
              <a:gd name="connsiteY5-2254" fmla="*/ 594543 h 767636"/>
              <a:gd name="connsiteX6-2255" fmla="*/ 470703 w 483308"/>
              <a:gd name="connsiteY6-2256" fmla="*/ 502530 h 767636"/>
              <a:gd name="connsiteX7-2257" fmla="*/ 483253 w 483308"/>
              <a:gd name="connsiteY7-2258" fmla="*/ 354838 h 767636"/>
              <a:gd name="connsiteX8-2259" fmla="*/ 475242 w 483308"/>
              <a:gd name="connsiteY8-2260" fmla="*/ 295328 h 767636"/>
              <a:gd name="connsiteX9-2261" fmla="*/ 456629 w 483308"/>
              <a:gd name="connsiteY9-2262" fmla="*/ 223373 h 767636"/>
              <a:gd name="connsiteX10-2263" fmla="*/ 426054 w 483308"/>
              <a:gd name="connsiteY10-2264" fmla="*/ 161366 h 767636"/>
              <a:gd name="connsiteX11-2265" fmla="*/ 408827 w 483308"/>
              <a:gd name="connsiteY11-2266" fmla="*/ 135929 h 767636"/>
              <a:gd name="connsiteX12-2267" fmla="*/ 391252 w 483308"/>
              <a:gd name="connsiteY12-2268" fmla="*/ 110957 h 767636"/>
              <a:gd name="connsiteX13-2269" fmla="*/ 362438 w 483308"/>
              <a:gd name="connsiteY13-2270" fmla="*/ 83606 h 767636"/>
              <a:gd name="connsiteX14-2271" fmla="*/ 338682 w 483308"/>
              <a:gd name="connsiteY14-2272" fmla="*/ 60746 h 767636"/>
              <a:gd name="connsiteX15-2273" fmla="*/ 301662 w 483308"/>
              <a:gd name="connsiteY15-2274" fmla="*/ 37022 h 767636"/>
              <a:gd name="connsiteX16-2275" fmla="*/ 309928 w 483308"/>
              <a:gd name="connsiteY16-2276" fmla="*/ 41351 h 767636"/>
              <a:gd name="connsiteX17-2277" fmla="*/ 217672 w 483308"/>
              <a:gd name="connsiteY17-2278" fmla="*/ 4398 h 767636"/>
              <a:gd name="connsiteX18-2279" fmla="*/ 164949 w 483308"/>
              <a:gd name="connsiteY18-2280" fmla="*/ 1435 h 767636"/>
              <a:gd name="connsiteX19-2281" fmla="*/ 98879 w 483308"/>
              <a:gd name="connsiteY19-2282" fmla="*/ 11117 h 767636"/>
              <a:gd name="connsiteX20-2283" fmla="*/ 0 w 483308"/>
              <a:gd name="connsiteY20-2284" fmla="*/ 54797 h 767636"/>
              <a:gd name="connsiteX0-2285" fmla="*/ 161352 w 483308"/>
              <a:gd name="connsiteY0-2286" fmla="*/ 767636 h 767636"/>
              <a:gd name="connsiteX1-2287" fmla="*/ 254067 w 483308"/>
              <a:gd name="connsiteY1-2288" fmla="*/ 752844 h 767636"/>
              <a:gd name="connsiteX2-2289" fmla="*/ 354468 w 483308"/>
              <a:gd name="connsiteY2-2290" fmla="*/ 695246 h 767636"/>
              <a:gd name="connsiteX3-2291" fmla="*/ 385653 w 483308"/>
              <a:gd name="connsiteY3-2292" fmla="*/ 665467 h 767636"/>
              <a:gd name="connsiteX4-2293" fmla="*/ 402437 w 483308"/>
              <a:gd name="connsiteY4-2294" fmla="*/ 642374 h 767636"/>
              <a:gd name="connsiteX5-2295" fmla="*/ 434315 w 483308"/>
              <a:gd name="connsiteY5-2296" fmla="*/ 594543 h 767636"/>
              <a:gd name="connsiteX6-2297" fmla="*/ 470703 w 483308"/>
              <a:gd name="connsiteY6-2298" fmla="*/ 502530 h 767636"/>
              <a:gd name="connsiteX7-2299" fmla="*/ 483253 w 483308"/>
              <a:gd name="connsiteY7-2300" fmla="*/ 354838 h 767636"/>
              <a:gd name="connsiteX8-2301" fmla="*/ 475242 w 483308"/>
              <a:gd name="connsiteY8-2302" fmla="*/ 295328 h 767636"/>
              <a:gd name="connsiteX9-2303" fmla="*/ 456629 w 483308"/>
              <a:gd name="connsiteY9-2304" fmla="*/ 223373 h 767636"/>
              <a:gd name="connsiteX10-2305" fmla="*/ 426054 w 483308"/>
              <a:gd name="connsiteY10-2306" fmla="*/ 161366 h 767636"/>
              <a:gd name="connsiteX11-2307" fmla="*/ 408827 w 483308"/>
              <a:gd name="connsiteY11-2308" fmla="*/ 135929 h 767636"/>
              <a:gd name="connsiteX12-2309" fmla="*/ 391252 w 483308"/>
              <a:gd name="connsiteY12-2310" fmla="*/ 110957 h 767636"/>
              <a:gd name="connsiteX13-2311" fmla="*/ 362438 w 483308"/>
              <a:gd name="connsiteY13-2312" fmla="*/ 83606 h 767636"/>
              <a:gd name="connsiteX14-2313" fmla="*/ 338682 w 483308"/>
              <a:gd name="connsiteY14-2314" fmla="*/ 60746 h 767636"/>
              <a:gd name="connsiteX15-2315" fmla="*/ 301662 w 483308"/>
              <a:gd name="connsiteY15-2316" fmla="*/ 37022 h 767636"/>
              <a:gd name="connsiteX16-2317" fmla="*/ 309928 w 483308"/>
              <a:gd name="connsiteY16-2318" fmla="*/ 41351 h 767636"/>
              <a:gd name="connsiteX17-2319" fmla="*/ 203327 w 483308"/>
              <a:gd name="connsiteY17-2320" fmla="*/ 4398 h 767636"/>
              <a:gd name="connsiteX18-2321" fmla="*/ 164949 w 483308"/>
              <a:gd name="connsiteY18-2322" fmla="*/ 1435 h 767636"/>
              <a:gd name="connsiteX19-2323" fmla="*/ 98879 w 483308"/>
              <a:gd name="connsiteY19-2324" fmla="*/ 11117 h 767636"/>
              <a:gd name="connsiteX20-2325" fmla="*/ 0 w 483308"/>
              <a:gd name="connsiteY20-2326" fmla="*/ 54797 h 767636"/>
              <a:gd name="connsiteX0-2327" fmla="*/ 161352 w 483308"/>
              <a:gd name="connsiteY0-2328" fmla="*/ 766201 h 766201"/>
              <a:gd name="connsiteX1-2329" fmla="*/ 254067 w 483308"/>
              <a:gd name="connsiteY1-2330" fmla="*/ 751409 h 766201"/>
              <a:gd name="connsiteX2-2331" fmla="*/ 354468 w 483308"/>
              <a:gd name="connsiteY2-2332" fmla="*/ 693811 h 766201"/>
              <a:gd name="connsiteX3-2333" fmla="*/ 385653 w 483308"/>
              <a:gd name="connsiteY3-2334" fmla="*/ 664032 h 766201"/>
              <a:gd name="connsiteX4-2335" fmla="*/ 402437 w 483308"/>
              <a:gd name="connsiteY4-2336" fmla="*/ 640939 h 766201"/>
              <a:gd name="connsiteX5-2337" fmla="*/ 434315 w 483308"/>
              <a:gd name="connsiteY5-2338" fmla="*/ 593108 h 766201"/>
              <a:gd name="connsiteX6-2339" fmla="*/ 470703 w 483308"/>
              <a:gd name="connsiteY6-2340" fmla="*/ 501095 h 766201"/>
              <a:gd name="connsiteX7-2341" fmla="*/ 483253 w 483308"/>
              <a:gd name="connsiteY7-2342" fmla="*/ 353403 h 766201"/>
              <a:gd name="connsiteX8-2343" fmla="*/ 475242 w 483308"/>
              <a:gd name="connsiteY8-2344" fmla="*/ 293893 h 766201"/>
              <a:gd name="connsiteX9-2345" fmla="*/ 456629 w 483308"/>
              <a:gd name="connsiteY9-2346" fmla="*/ 221938 h 766201"/>
              <a:gd name="connsiteX10-2347" fmla="*/ 426054 w 483308"/>
              <a:gd name="connsiteY10-2348" fmla="*/ 159931 h 766201"/>
              <a:gd name="connsiteX11-2349" fmla="*/ 408827 w 483308"/>
              <a:gd name="connsiteY11-2350" fmla="*/ 134494 h 766201"/>
              <a:gd name="connsiteX12-2351" fmla="*/ 391252 w 483308"/>
              <a:gd name="connsiteY12-2352" fmla="*/ 109522 h 766201"/>
              <a:gd name="connsiteX13-2353" fmla="*/ 362438 w 483308"/>
              <a:gd name="connsiteY13-2354" fmla="*/ 82171 h 766201"/>
              <a:gd name="connsiteX14-2355" fmla="*/ 338682 w 483308"/>
              <a:gd name="connsiteY14-2356" fmla="*/ 59311 h 766201"/>
              <a:gd name="connsiteX15-2357" fmla="*/ 301662 w 483308"/>
              <a:gd name="connsiteY15-2358" fmla="*/ 35587 h 766201"/>
              <a:gd name="connsiteX16-2359" fmla="*/ 309928 w 483308"/>
              <a:gd name="connsiteY16-2360" fmla="*/ 39916 h 766201"/>
              <a:gd name="connsiteX17-2361" fmla="*/ 164949 w 483308"/>
              <a:gd name="connsiteY17-2362" fmla="*/ 0 h 766201"/>
              <a:gd name="connsiteX18-2363" fmla="*/ 98879 w 483308"/>
              <a:gd name="connsiteY18-2364" fmla="*/ 9682 h 766201"/>
              <a:gd name="connsiteX19-2365" fmla="*/ 0 w 483308"/>
              <a:gd name="connsiteY19-2366" fmla="*/ 53362 h 766201"/>
              <a:gd name="connsiteX0-2367" fmla="*/ 161352 w 483308"/>
              <a:gd name="connsiteY0-2368" fmla="*/ 766201 h 766201"/>
              <a:gd name="connsiteX1-2369" fmla="*/ 254067 w 483308"/>
              <a:gd name="connsiteY1-2370" fmla="*/ 751409 h 766201"/>
              <a:gd name="connsiteX2-2371" fmla="*/ 354468 w 483308"/>
              <a:gd name="connsiteY2-2372" fmla="*/ 693811 h 766201"/>
              <a:gd name="connsiteX3-2373" fmla="*/ 385653 w 483308"/>
              <a:gd name="connsiteY3-2374" fmla="*/ 664032 h 766201"/>
              <a:gd name="connsiteX4-2375" fmla="*/ 402437 w 483308"/>
              <a:gd name="connsiteY4-2376" fmla="*/ 640939 h 766201"/>
              <a:gd name="connsiteX5-2377" fmla="*/ 434315 w 483308"/>
              <a:gd name="connsiteY5-2378" fmla="*/ 593108 h 766201"/>
              <a:gd name="connsiteX6-2379" fmla="*/ 470703 w 483308"/>
              <a:gd name="connsiteY6-2380" fmla="*/ 501095 h 766201"/>
              <a:gd name="connsiteX7-2381" fmla="*/ 483253 w 483308"/>
              <a:gd name="connsiteY7-2382" fmla="*/ 353403 h 766201"/>
              <a:gd name="connsiteX8-2383" fmla="*/ 475242 w 483308"/>
              <a:gd name="connsiteY8-2384" fmla="*/ 293893 h 766201"/>
              <a:gd name="connsiteX9-2385" fmla="*/ 456629 w 483308"/>
              <a:gd name="connsiteY9-2386" fmla="*/ 221938 h 766201"/>
              <a:gd name="connsiteX10-2387" fmla="*/ 426054 w 483308"/>
              <a:gd name="connsiteY10-2388" fmla="*/ 159931 h 766201"/>
              <a:gd name="connsiteX11-2389" fmla="*/ 408827 w 483308"/>
              <a:gd name="connsiteY11-2390" fmla="*/ 134494 h 766201"/>
              <a:gd name="connsiteX12-2391" fmla="*/ 391252 w 483308"/>
              <a:gd name="connsiteY12-2392" fmla="*/ 109522 h 766201"/>
              <a:gd name="connsiteX13-2393" fmla="*/ 362438 w 483308"/>
              <a:gd name="connsiteY13-2394" fmla="*/ 82171 h 766201"/>
              <a:gd name="connsiteX14-2395" fmla="*/ 338682 w 483308"/>
              <a:gd name="connsiteY14-2396" fmla="*/ 59311 h 766201"/>
              <a:gd name="connsiteX15-2397" fmla="*/ 301662 w 483308"/>
              <a:gd name="connsiteY15-2398" fmla="*/ 35587 h 766201"/>
              <a:gd name="connsiteX16-2399" fmla="*/ 309928 w 483308"/>
              <a:gd name="connsiteY16-2400" fmla="*/ 39916 h 766201"/>
              <a:gd name="connsiteX17-2401" fmla="*/ 238267 w 483308"/>
              <a:gd name="connsiteY17-2402" fmla="*/ 9566 h 766201"/>
              <a:gd name="connsiteX18-2403" fmla="*/ 164949 w 483308"/>
              <a:gd name="connsiteY18-2404" fmla="*/ 0 h 766201"/>
              <a:gd name="connsiteX19-2405" fmla="*/ 98879 w 483308"/>
              <a:gd name="connsiteY19-2406" fmla="*/ 9682 h 766201"/>
              <a:gd name="connsiteX20-2407" fmla="*/ 0 w 483308"/>
              <a:gd name="connsiteY20-2408" fmla="*/ 53362 h 766201"/>
              <a:gd name="connsiteX0-2409" fmla="*/ 161352 w 483308"/>
              <a:gd name="connsiteY0-2410" fmla="*/ 766201 h 766201"/>
              <a:gd name="connsiteX1-2411" fmla="*/ 254067 w 483308"/>
              <a:gd name="connsiteY1-2412" fmla="*/ 751409 h 766201"/>
              <a:gd name="connsiteX2-2413" fmla="*/ 385653 w 483308"/>
              <a:gd name="connsiteY2-2414" fmla="*/ 664032 h 766201"/>
              <a:gd name="connsiteX3-2415" fmla="*/ 402437 w 483308"/>
              <a:gd name="connsiteY3-2416" fmla="*/ 640939 h 766201"/>
              <a:gd name="connsiteX4-2417" fmla="*/ 434315 w 483308"/>
              <a:gd name="connsiteY4-2418" fmla="*/ 593108 h 766201"/>
              <a:gd name="connsiteX5-2419" fmla="*/ 470703 w 483308"/>
              <a:gd name="connsiteY5-2420" fmla="*/ 501095 h 766201"/>
              <a:gd name="connsiteX6-2421" fmla="*/ 483253 w 483308"/>
              <a:gd name="connsiteY6-2422" fmla="*/ 353403 h 766201"/>
              <a:gd name="connsiteX7-2423" fmla="*/ 475242 w 483308"/>
              <a:gd name="connsiteY7-2424" fmla="*/ 293893 h 766201"/>
              <a:gd name="connsiteX8-2425" fmla="*/ 456629 w 483308"/>
              <a:gd name="connsiteY8-2426" fmla="*/ 221938 h 766201"/>
              <a:gd name="connsiteX9-2427" fmla="*/ 426054 w 483308"/>
              <a:gd name="connsiteY9-2428" fmla="*/ 159931 h 766201"/>
              <a:gd name="connsiteX10-2429" fmla="*/ 408827 w 483308"/>
              <a:gd name="connsiteY10-2430" fmla="*/ 134494 h 766201"/>
              <a:gd name="connsiteX11-2431" fmla="*/ 391252 w 483308"/>
              <a:gd name="connsiteY11-2432" fmla="*/ 109522 h 766201"/>
              <a:gd name="connsiteX12-2433" fmla="*/ 362438 w 483308"/>
              <a:gd name="connsiteY12-2434" fmla="*/ 82171 h 766201"/>
              <a:gd name="connsiteX13-2435" fmla="*/ 338682 w 483308"/>
              <a:gd name="connsiteY13-2436" fmla="*/ 59311 h 766201"/>
              <a:gd name="connsiteX14-2437" fmla="*/ 301662 w 483308"/>
              <a:gd name="connsiteY14-2438" fmla="*/ 35587 h 766201"/>
              <a:gd name="connsiteX15-2439" fmla="*/ 309928 w 483308"/>
              <a:gd name="connsiteY15-2440" fmla="*/ 39916 h 766201"/>
              <a:gd name="connsiteX16-2441" fmla="*/ 238267 w 483308"/>
              <a:gd name="connsiteY16-2442" fmla="*/ 9566 h 766201"/>
              <a:gd name="connsiteX17-2443" fmla="*/ 164949 w 483308"/>
              <a:gd name="connsiteY17-2444" fmla="*/ 0 h 766201"/>
              <a:gd name="connsiteX18-2445" fmla="*/ 98879 w 483308"/>
              <a:gd name="connsiteY18-2446" fmla="*/ 9682 h 766201"/>
              <a:gd name="connsiteX19-2447" fmla="*/ 0 w 483308"/>
              <a:gd name="connsiteY19-2448" fmla="*/ 53362 h 766201"/>
              <a:gd name="connsiteX0-2449" fmla="*/ 161352 w 483308"/>
              <a:gd name="connsiteY0-2450" fmla="*/ 766201 h 766201"/>
              <a:gd name="connsiteX1-2451" fmla="*/ 254067 w 483308"/>
              <a:gd name="connsiteY1-2452" fmla="*/ 751409 h 766201"/>
              <a:gd name="connsiteX2-2453" fmla="*/ 332306 w 483308"/>
              <a:gd name="connsiteY2-2454" fmla="*/ 713643 h 766201"/>
              <a:gd name="connsiteX3-2455" fmla="*/ 385653 w 483308"/>
              <a:gd name="connsiteY3-2456" fmla="*/ 664032 h 766201"/>
              <a:gd name="connsiteX4-2457" fmla="*/ 402437 w 483308"/>
              <a:gd name="connsiteY4-2458" fmla="*/ 640939 h 766201"/>
              <a:gd name="connsiteX5-2459" fmla="*/ 434315 w 483308"/>
              <a:gd name="connsiteY5-2460" fmla="*/ 593108 h 766201"/>
              <a:gd name="connsiteX6-2461" fmla="*/ 470703 w 483308"/>
              <a:gd name="connsiteY6-2462" fmla="*/ 501095 h 766201"/>
              <a:gd name="connsiteX7-2463" fmla="*/ 483253 w 483308"/>
              <a:gd name="connsiteY7-2464" fmla="*/ 353403 h 766201"/>
              <a:gd name="connsiteX8-2465" fmla="*/ 475242 w 483308"/>
              <a:gd name="connsiteY8-2466" fmla="*/ 293893 h 766201"/>
              <a:gd name="connsiteX9-2467" fmla="*/ 456629 w 483308"/>
              <a:gd name="connsiteY9-2468" fmla="*/ 221938 h 766201"/>
              <a:gd name="connsiteX10-2469" fmla="*/ 426054 w 483308"/>
              <a:gd name="connsiteY10-2470" fmla="*/ 159931 h 766201"/>
              <a:gd name="connsiteX11-2471" fmla="*/ 408827 w 483308"/>
              <a:gd name="connsiteY11-2472" fmla="*/ 134494 h 766201"/>
              <a:gd name="connsiteX12-2473" fmla="*/ 391252 w 483308"/>
              <a:gd name="connsiteY12-2474" fmla="*/ 109522 h 766201"/>
              <a:gd name="connsiteX13-2475" fmla="*/ 362438 w 483308"/>
              <a:gd name="connsiteY13-2476" fmla="*/ 82171 h 766201"/>
              <a:gd name="connsiteX14-2477" fmla="*/ 338682 w 483308"/>
              <a:gd name="connsiteY14-2478" fmla="*/ 59311 h 766201"/>
              <a:gd name="connsiteX15-2479" fmla="*/ 301662 w 483308"/>
              <a:gd name="connsiteY15-2480" fmla="*/ 35587 h 766201"/>
              <a:gd name="connsiteX16-2481" fmla="*/ 309928 w 483308"/>
              <a:gd name="connsiteY16-2482" fmla="*/ 39916 h 766201"/>
              <a:gd name="connsiteX17-2483" fmla="*/ 238267 w 483308"/>
              <a:gd name="connsiteY17-2484" fmla="*/ 9566 h 766201"/>
              <a:gd name="connsiteX18-2485" fmla="*/ 164949 w 483308"/>
              <a:gd name="connsiteY18-2486" fmla="*/ 0 h 766201"/>
              <a:gd name="connsiteX19-2487" fmla="*/ 98879 w 483308"/>
              <a:gd name="connsiteY19-2488" fmla="*/ 9682 h 766201"/>
              <a:gd name="connsiteX20-2489" fmla="*/ 0 w 483308"/>
              <a:gd name="connsiteY20-2490" fmla="*/ 53362 h 766201"/>
              <a:gd name="connsiteX0-2491" fmla="*/ 161352 w 483308"/>
              <a:gd name="connsiteY0-2492" fmla="*/ 766201 h 766201"/>
              <a:gd name="connsiteX1-2493" fmla="*/ 254067 w 483308"/>
              <a:gd name="connsiteY1-2494" fmla="*/ 751409 h 766201"/>
              <a:gd name="connsiteX2-2495" fmla="*/ 325931 w 483308"/>
              <a:gd name="connsiteY2-2496" fmla="*/ 713643 h 766201"/>
              <a:gd name="connsiteX3-2497" fmla="*/ 385653 w 483308"/>
              <a:gd name="connsiteY3-2498" fmla="*/ 664032 h 766201"/>
              <a:gd name="connsiteX4-2499" fmla="*/ 402437 w 483308"/>
              <a:gd name="connsiteY4-2500" fmla="*/ 640939 h 766201"/>
              <a:gd name="connsiteX5-2501" fmla="*/ 434315 w 483308"/>
              <a:gd name="connsiteY5-2502" fmla="*/ 593108 h 766201"/>
              <a:gd name="connsiteX6-2503" fmla="*/ 470703 w 483308"/>
              <a:gd name="connsiteY6-2504" fmla="*/ 501095 h 766201"/>
              <a:gd name="connsiteX7-2505" fmla="*/ 483253 w 483308"/>
              <a:gd name="connsiteY7-2506" fmla="*/ 353403 h 766201"/>
              <a:gd name="connsiteX8-2507" fmla="*/ 475242 w 483308"/>
              <a:gd name="connsiteY8-2508" fmla="*/ 293893 h 766201"/>
              <a:gd name="connsiteX9-2509" fmla="*/ 456629 w 483308"/>
              <a:gd name="connsiteY9-2510" fmla="*/ 221938 h 766201"/>
              <a:gd name="connsiteX10-2511" fmla="*/ 426054 w 483308"/>
              <a:gd name="connsiteY10-2512" fmla="*/ 159931 h 766201"/>
              <a:gd name="connsiteX11-2513" fmla="*/ 408827 w 483308"/>
              <a:gd name="connsiteY11-2514" fmla="*/ 134494 h 766201"/>
              <a:gd name="connsiteX12-2515" fmla="*/ 391252 w 483308"/>
              <a:gd name="connsiteY12-2516" fmla="*/ 109522 h 766201"/>
              <a:gd name="connsiteX13-2517" fmla="*/ 362438 w 483308"/>
              <a:gd name="connsiteY13-2518" fmla="*/ 82171 h 766201"/>
              <a:gd name="connsiteX14-2519" fmla="*/ 338682 w 483308"/>
              <a:gd name="connsiteY14-2520" fmla="*/ 59311 h 766201"/>
              <a:gd name="connsiteX15-2521" fmla="*/ 301662 w 483308"/>
              <a:gd name="connsiteY15-2522" fmla="*/ 35587 h 766201"/>
              <a:gd name="connsiteX16-2523" fmla="*/ 309928 w 483308"/>
              <a:gd name="connsiteY16-2524" fmla="*/ 39916 h 766201"/>
              <a:gd name="connsiteX17-2525" fmla="*/ 238267 w 483308"/>
              <a:gd name="connsiteY17-2526" fmla="*/ 9566 h 766201"/>
              <a:gd name="connsiteX18-2527" fmla="*/ 164949 w 483308"/>
              <a:gd name="connsiteY18-2528" fmla="*/ 0 h 766201"/>
              <a:gd name="connsiteX19-2529" fmla="*/ 98879 w 483308"/>
              <a:gd name="connsiteY19-2530" fmla="*/ 9682 h 766201"/>
              <a:gd name="connsiteX20-2531" fmla="*/ 0 w 483308"/>
              <a:gd name="connsiteY20-2532" fmla="*/ 53362 h 766201"/>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45" y="connsiteY5-46"/>
              </a:cxn>
              <a:cxn ang="0">
                <a:pos x="connsiteX6-59" y="connsiteY6-60"/>
              </a:cxn>
              <a:cxn ang="0">
                <a:pos x="connsiteX7-75" y="connsiteY7-76"/>
              </a:cxn>
              <a:cxn ang="0">
                <a:pos x="connsiteX8-109" y="connsiteY8-110"/>
              </a:cxn>
              <a:cxn ang="0">
                <a:pos x="connsiteX9-129" y="connsiteY9-130"/>
              </a:cxn>
              <a:cxn ang="0">
                <a:pos x="connsiteX10-171" y="connsiteY10-172"/>
              </a:cxn>
              <a:cxn ang="0">
                <a:pos x="connsiteX11-239" y="connsiteY11-240"/>
              </a:cxn>
              <a:cxn ang="0">
                <a:pos x="connsiteX12-265" y="connsiteY12-266"/>
              </a:cxn>
              <a:cxn ang="0">
                <a:pos x="connsiteX13-293" y="connsiteY13-294"/>
              </a:cxn>
              <a:cxn ang="0">
                <a:pos x="connsiteX14-351" y="connsiteY14-352"/>
              </a:cxn>
              <a:cxn ang="0">
                <a:pos x="connsiteX15-413" y="connsiteY15-414"/>
              </a:cxn>
              <a:cxn ang="0">
                <a:pos x="connsiteX16-543" y="connsiteY16-544"/>
              </a:cxn>
              <a:cxn ang="0">
                <a:pos x="connsiteX17-579" y="connsiteY17-580"/>
              </a:cxn>
              <a:cxn ang="0">
                <a:pos x="connsiteX18-617" y="connsiteY18-618"/>
              </a:cxn>
              <a:cxn ang="0">
                <a:pos x="connsiteX19-657" y="connsiteY19-658"/>
              </a:cxn>
              <a:cxn ang="0">
                <a:pos x="connsiteX20-779" y="connsiteY20-780"/>
              </a:cxn>
            </a:cxnLst>
            <a:rect l="l" t="t" r="r" b="b"/>
            <a:pathLst>
              <a:path w="483308" h="766201">
                <a:moveTo>
                  <a:pt x="161352" y="766201"/>
                </a:moveTo>
                <a:cubicBezTo>
                  <a:pt x="184737" y="760935"/>
                  <a:pt x="214351" y="763396"/>
                  <a:pt x="254067" y="751409"/>
                </a:cubicBezTo>
                <a:cubicBezTo>
                  <a:pt x="280965" y="741693"/>
                  <a:pt x="304000" y="728206"/>
                  <a:pt x="325931" y="713643"/>
                </a:cubicBezTo>
                <a:cubicBezTo>
                  <a:pt x="347862" y="699080"/>
                  <a:pt x="372371" y="675193"/>
                  <a:pt x="385653" y="664032"/>
                </a:cubicBezTo>
                <a:cubicBezTo>
                  <a:pt x="391185" y="657779"/>
                  <a:pt x="397304" y="648781"/>
                  <a:pt x="402437" y="640939"/>
                </a:cubicBezTo>
                <a:cubicBezTo>
                  <a:pt x="410547" y="629118"/>
                  <a:pt x="422937" y="616415"/>
                  <a:pt x="434315" y="593108"/>
                </a:cubicBezTo>
                <a:cubicBezTo>
                  <a:pt x="445693" y="569801"/>
                  <a:pt x="462547" y="541046"/>
                  <a:pt x="470703" y="501095"/>
                </a:cubicBezTo>
                <a:cubicBezTo>
                  <a:pt x="478859" y="461144"/>
                  <a:pt x="483896" y="386179"/>
                  <a:pt x="483253" y="353403"/>
                </a:cubicBezTo>
                <a:cubicBezTo>
                  <a:pt x="482610" y="320627"/>
                  <a:pt x="480742" y="315166"/>
                  <a:pt x="475242" y="293893"/>
                </a:cubicBezTo>
                <a:cubicBezTo>
                  <a:pt x="469742" y="272620"/>
                  <a:pt x="464827" y="244265"/>
                  <a:pt x="456629" y="221938"/>
                </a:cubicBezTo>
                <a:cubicBezTo>
                  <a:pt x="448431" y="199611"/>
                  <a:pt x="432958" y="175142"/>
                  <a:pt x="426054" y="159931"/>
                </a:cubicBezTo>
                <a:cubicBezTo>
                  <a:pt x="419150" y="144720"/>
                  <a:pt x="414893" y="144576"/>
                  <a:pt x="408827" y="134494"/>
                </a:cubicBezTo>
                <a:cubicBezTo>
                  <a:pt x="402761" y="124412"/>
                  <a:pt x="395918" y="117363"/>
                  <a:pt x="391252" y="109522"/>
                </a:cubicBezTo>
                <a:cubicBezTo>
                  <a:pt x="386586" y="101681"/>
                  <a:pt x="371465" y="89902"/>
                  <a:pt x="362438" y="82171"/>
                </a:cubicBezTo>
                <a:cubicBezTo>
                  <a:pt x="353411" y="74440"/>
                  <a:pt x="348811" y="67075"/>
                  <a:pt x="338682" y="59311"/>
                </a:cubicBezTo>
                <a:cubicBezTo>
                  <a:pt x="328553" y="51547"/>
                  <a:pt x="306189" y="39457"/>
                  <a:pt x="301662" y="35587"/>
                </a:cubicBezTo>
                <a:cubicBezTo>
                  <a:pt x="297135" y="31717"/>
                  <a:pt x="321025" y="42977"/>
                  <a:pt x="309928" y="39916"/>
                </a:cubicBezTo>
                <a:cubicBezTo>
                  <a:pt x="298831" y="36855"/>
                  <a:pt x="262430" y="16219"/>
                  <a:pt x="238267" y="9566"/>
                </a:cubicBezTo>
                <a:cubicBezTo>
                  <a:pt x="214104" y="2913"/>
                  <a:pt x="187649" y="1256"/>
                  <a:pt x="164949" y="0"/>
                </a:cubicBezTo>
                <a:cubicBezTo>
                  <a:pt x="144885" y="1120"/>
                  <a:pt x="126105" y="2383"/>
                  <a:pt x="98879" y="9682"/>
                </a:cubicBezTo>
                <a:cubicBezTo>
                  <a:pt x="62600" y="17125"/>
                  <a:pt x="15747" y="48719"/>
                  <a:pt x="0" y="53362"/>
                </a:cubicBezTo>
              </a:path>
            </a:pathLst>
          </a:custGeom>
          <a:noFill/>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solidFill>
                <a:schemeClr val="accent6">
                  <a:lumMod val="75000"/>
                </a:schemeClr>
              </a:solidFill>
            </a:endParaRPr>
          </a:p>
        </p:txBody>
      </p:sp>
      <p:sp>
        <p:nvSpPr>
          <p:cNvPr id="40" name="Triangle isocèle 3072"/>
          <p:cNvSpPr/>
          <p:nvPr/>
        </p:nvSpPr>
        <p:spPr>
          <a:xfrm rot="18657110">
            <a:off x="3882406" y="3648836"/>
            <a:ext cx="216024" cy="169785"/>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1" name="Ellipse 52"/>
          <p:cNvSpPr/>
          <p:nvPr/>
        </p:nvSpPr>
        <p:spPr>
          <a:xfrm>
            <a:off x="4910880" y="3723878"/>
            <a:ext cx="93168" cy="93168"/>
          </a:xfrm>
          <a:prstGeom prst="ellipse">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sp>
        <p:nvSpPr>
          <p:cNvPr id="42" name="Ellipse 52"/>
          <p:cNvSpPr/>
          <p:nvPr/>
        </p:nvSpPr>
        <p:spPr>
          <a:xfrm>
            <a:off x="5242007" y="2571750"/>
            <a:ext cx="93168" cy="93168"/>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6">
                  <a:lumMod val="60000"/>
                  <a:lumOff val="40000"/>
                </a:schemeClr>
              </a:solidFill>
            </a:endParaRPr>
          </a:p>
        </p:txBody>
      </p:sp>
    </p:spTree>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a:xfrm>
            <a:off x="2037250" y="2696248"/>
            <a:ext cx="3738710"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5" name="Rectangle 14"/>
          <p:cNvSpPr/>
          <p:nvPr/>
        </p:nvSpPr>
        <p:spPr>
          <a:xfrm>
            <a:off x="1960205" y="2640969"/>
            <a:ext cx="6414850" cy="523220"/>
          </a:xfrm>
          <a:prstGeom prst="rect">
            <a:avLst/>
          </a:prstGeom>
        </p:spPr>
        <p:txBody>
          <a:bodyPr wrap="square">
            <a:spAutoFit/>
          </a:bodyPr>
          <a:lstStyle/>
          <a:p>
            <a:r>
              <a:rPr lang="pt-BR" sz="1400" b="1" dirty="0"/>
              <a:t>Através da cooperação com o setor privado</a:t>
            </a:r>
            <a:r>
              <a:rPr lang="pt-BR" sz="1400" dirty="0"/>
              <a:t> , garante-se o manejo sustentável e a recuperação dos recursos naturais</a:t>
            </a:r>
            <a:endParaRPr lang="en-US" sz="1400" dirty="0">
              <a:solidFill>
                <a:prstClr val="black"/>
              </a:solidFill>
            </a:endParaRPr>
          </a:p>
        </p:txBody>
      </p:sp>
      <p:sp>
        <p:nvSpPr>
          <p:cNvPr id="25" name="Rectangle 18"/>
          <p:cNvSpPr/>
          <p:nvPr/>
        </p:nvSpPr>
        <p:spPr>
          <a:xfrm>
            <a:off x="2037250" y="3523835"/>
            <a:ext cx="4439750"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Rectangle 19"/>
          <p:cNvSpPr/>
          <p:nvPr/>
        </p:nvSpPr>
        <p:spPr>
          <a:xfrm>
            <a:off x="1960205" y="4271822"/>
            <a:ext cx="3726856" cy="2160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Rectangle 17"/>
          <p:cNvSpPr/>
          <p:nvPr/>
        </p:nvSpPr>
        <p:spPr>
          <a:xfrm>
            <a:off x="1875513" y="4023822"/>
            <a:ext cx="6624736" cy="738664"/>
          </a:xfrm>
          <a:prstGeom prst="rect">
            <a:avLst/>
          </a:prstGeom>
        </p:spPr>
        <p:txBody>
          <a:bodyPr wrap="square">
            <a:spAutoFit/>
          </a:bodyPr>
          <a:lstStyle/>
          <a:p>
            <a:r>
              <a:rPr lang="pt-BR" sz="1400" dirty="0"/>
              <a:t>Pequenos agricultores, cooperativas e povos tradicionais na Amazônia mantém a </a:t>
            </a:r>
            <a:r>
              <a:rPr lang="pt-BR" sz="1400" b="1" dirty="0"/>
              <a:t>floresta tropical em pé e fornecem alimento </a:t>
            </a:r>
            <a:r>
              <a:rPr lang="pt-BR" sz="1400" dirty="0"/>
              <a:t>e também matérias-primas renováveis para a indústria.</a:t>
            </a:r>
            <a:endParaRPr lang="en-US" sz="1400" dirty="0">
              <a:solidFill>
                <a:prstClr val="black"/>
              </a:solidFill>
            </a:endParaRPr>
          </a:p>
        </p:txBody>
      </p:sp>
      <p:sp>
        <p:nvSpPr>
          <p:cNvPr id="2" name="Titre 1"/>
          <p:cNvSpPr>
            <a:spLocks noGrp="1"/>
          </p:cNvSpPr>
          <p:nvPr>
            <p:ph type="title"/>
          </p:nvPr>
        </p:nvSpPr>
        <p:spPr>
          <a:xfrm>
            <a:off x="467544" y="483518"/>
            <a:ext cx="5808663" cy="166688"/>
          </a:xfrm>
          <a:noFill/>
          <a:ln>
            <a:noFill/>
          </a:ln>
        </p:spPr>
        <p:txBody>
          <a:bodyPr vert="horz" wrap="square" lIns="0" tIns="0" rIns="0" bIns="0" numCol="1" anchor="ctr" anchorCtr="0" compatLnSpc="1"/>
          <a:lstStyle/>
          <a:p>
            <a:r>
              <a:rPr lang="de-DE" dirty="0"/>
              <a:t>Foodflow</a:t>
            </a:r>
            <a:r>
              <a:rPr lang="en-US" baseline="30000" dirty="0">
                <a:solidFill>
                  <a:prstClr val="black"/>
                </a:solidFill>
              </a:rPr>
              <a:t>®</a:t>
            </a:r>
            <a:endParaRPr lang="fr-FR" dirty="0"/>
          </a:p>
        </p:txBody>
      </p:sp>
      <p:sp>
        <p:nvSpPr>
          <p:cNvPr id="3" name="Sous-titre 2"/>
          <p:cNvSpPr>
            <a:spLocks noGrp="1"/>
          </p:cNvSpPr>
          <p:nvPr>
            <p:ph type="subTitle" idx="1"/>
          </p:nvPr>
        </p:nvSpPr>
        <p:spPr>
          <a:xfrm>
            <a:off x="467544" y="699542"/>
            <a:ext cx="5808133" cy="220063"/>
          </a:xfrm>
          <a:noFill/>
          <a:ln>
            <a:noFill/>
          </a:ln>
        </p:spPr>
        <p:txBody>
          <a:bodyPr vert="horz" wrap="square" lIns="0" tIns="0" rIns="0" bIns="0" numCol="1" anchor="t" anchorCtr="0" compatLnSpc="1"/>
          <a:lstStyle/>
          <a:p>
            <a:r>
              <a:rPr lang="fr-FR" dirty="0">
                <a:solidFill>
                  <a:srgbClr val="FF0066"/>
                </a:solidFill>
              </a:rPr>
              <a:t>O projeto</a:t>
            </a:r>
            <a:endParaRPr lang="fr-FR" dirty="0">
              <a:solidFill>
                <a:srgbClr val="FF0066"/>
              </a:solidFill>
            </a:endParaRPr>
          </a:p>
        </p:txBody>
      </p:sp>
      <p:sp>
        <p:nvSpPr>
          <p:cNvPr id="4" name="Espace réservé du numéro de diapositive 3"/>
          <p:cNvSpPr>
            <a:spLocks noGrp="1"/>
          </p:cNvSpPr>
          <p:nvPr>
            <p:ph type="sldNum" sz="quarter" idx="12"/>
          </p:nvPr>
        </p:nvSpPr>
        <p:spPr/>
        <p:txBody>
          <a:bodyPr/>
          <a:lstStyle/>
          <a:p>
            <a:fld id="{33BBF0EA-312D-42F6-8AD4-6CEA31025EAE}" type="slidenum">
              <a:rPr lang="de-DE" altLang="fr-FR" smtClean="0"/>
            </a:fld>
            <a:endParaRPr lang="de-DE" altLang="fr-FR" dirty="0"/>
          </a:p>
        </p:txBody>
      </p:sp>
      <p:sp>
        <p:nvSpPr>
          <p:cNvPr id="8" name="Rectangle 7"/>
          <p:cNvSpPr/>
          <p:nvPr/>
        </p:nvSpPr>
        <p:spPr>
          <a:xfrm>
            <a:off x="1183871" y="1363435"/>
            <a:ext cx="7306048" cy="1097106"/>
          </a:xfrm>
          <a:prstGeom prst="rect">
            <a:avLst/>
          </a:prstGeom>
          <a:solidFill>
            <a:schemeClr val="accent6">
              <a:lumMod val="40000"/>
              <a:lumOff val="60000"/>
              <a:alpha val="21961"/>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800">
              <a:defRPr/>
            </a:pPr>
            <a:endParaRPr lang="fr-FR" sz="1400">
              <a:solidFill>
                <a:prstClr val="white"/>
              </a:solidFill>
            </a:endParaRPr>
          </a:p>
        </p:txBody>
      </p:sp>
      <p:sp>
        <p:nvSpPr>
          <p:cNvPr id="9" name="Rectangle 8"/>
          <p:cNvSpPr/>
          <p:nvPr/>
        </p:nvSpPr>
        <p:spPr>
          <a:xfrm>
            <a:off x="1292262" y="1474644"/>
            <a:ext cx="7306048" cy="1097106"/>
          </a:xfrm>
          <a:prstGeom prst="rect">
            <a:avLst/>
          </a:prstGeom>
          <a:solidFill>
            <a:schemeClr val="accent6">
              <a:lumMod val="40000"/>
              <a:lumOff val="60000"/>
              <a:alpha val="85098"/>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685800">
              <a:defRPr/>
            </a:pPr>
            <a:endParaRPr lang="fr-FR" sz="1400">
              <a:solidFill>
                <a:prstClr val="white"/>
              </a:solidFill>
            </a:endParaRPr>
          </a:p>
        </p:txBody>
      </p:sp>
      <p:pic>
        <p:nvPicPr>
          <p:cNvPr id="7" name="Image 6"/>
          <p:cNvPicPr>
            <a:picLocks noChangeAspect="1"/>
          </p:cNvPicPr>
          <p:nvPr/>
        </p:nvPicPr>
        <p:blipFill rotWithShape="1">
          <a:blip r:embed="rId1" cstate="print">
            <a:extLst>
              <a:ext uri="{28A0092B-C50C-407E-A947-70E740481C1C}">
                <a14:useLocalDpi xmlns:a14="http://schemas.microsoft.com/office/drawing/2010/main" val="0"/>
              </a:ext>
            </a:extLst>
          </a:blip>
          <a:srcRect l="12739" t="5120" r="13164" b="19218"/>
          <a:stretch>
            <a:fillRect/>
          </a:stretch>
        </p:blipFill>
        <p:spPr>
          <a:xfrm>
            <a:off x="467544" y="1349986"/>
            <a:ext cx="1196502" cy="1221764"/>
          </a:xfrm>
          <a:prstGeom prst="rect">
            <a:avLst/>
          </a:prstGeom>
        </p:spPr>
      </p:pic>
      <p:sp>
        <p:nvSpPr>
          <p:cNvPr id="10" name="Rectangle 9"/>
          <p:cNvSpPr/>
          <p:nvPr/>
        </p:nvSpPr>
        <p:spPr>
          <a:xfrm>
            <a:off x="1664046" y="1523810"/>
            <a:ext cx="982961" cy="307777"/>
          </a:xfrm>
          <a:prstGeom prst="rect">
            <a:avLst/>
          </a:prstGeom>
        </p:spPr>
        <p:txBody>
          <a:bodyPr wrap="none">
            <a:spAutoFit/>
          </a:bodyPr>
          <a:lstStyle/>
          <a:p>
            <a:r>
              <a:rPr lang="fr-FR" sz="1400" b="1" cap="small" dirty="0" smtClean="0">
                <a:solidFill>
                  <a:prstClr val="black"/>
                </a:solidFill>
              </a:rPr>
              <a:t>DESAFIO</a:t>
            </a:r>
            <a:endParaRPr lang="fr-FR" sz="1400" b="1" cap="small" dirty="0">
              <a:solidFill>
                <a:prstClr val="black"/>
              </a:solidFill>
            </a:endParaRPr>
          </a:p>
        </p:txBody>
      </p:sp>
      <p:sp>
        <p:nvSpPr>
          <p:cNvPr id="11" name="Rectangle 10"/>
          <p:cNvSpPr/>
          <p:nvPr/>
        </p:nvSpPr>
        <p:spPr>
          <a:xfrm>
            <a:off x="1670558" y="1733058"/>
            <a:ext cx="6927752" cy="738664"/>
          </a:xfrm>
          <a:prstGeom prst="rect">
            <a:avLst/>
          </a:prstGeom>
        </p:spPr>
        <p:txBody>
          <a:bodyPr wrap="square">
            <a:spAutoFit/>
          </a:bodyPr>
          <a:lstStyle/>
          <a:p>
            <a:r>
              <a:rPr lang="pt-BR" sz="1400" dirty="0" smtClean="0">
                <a:solidFill>
                  <a:prstClr val="black"/>
                </a:solidFill>
              </a:rPr>
              <a:t>Valorizar nosso produto para o mercado brasileiro explorar totalmente o potencial da nossa </a:t>
            </a:r>
            <a:r>
              <a:rPr lang="pt-BR" sz="1400" dirty="0" err="1" smtClean="0">
                <a:solidFill>
                  <a:prstClr val="black"/>
                </a:solidFill>
              </a:rPr>
              <a:t>soluçãao</a:t>
            </a:r>
            <a:r>
              <a:rPr lang="pt-BR" sz="1400" dirty="0" smtClean="0">
                <a:solidFill>
                  <a:prstClr val="black"/>
                </a:solidFill>
              </a:rPr>
              <a:t>, </a:t>
            </a:r>
            <a:r>
              <a:rPr lang="pt-BR" sz="1400" dirty="0" smtClean="0">
                <a:solidFill>
                  <a:prstClr val="black"/>
                </a:solidFill>
              </a:rPr>
              <a:t>gerando assim, um impacto com o passar das gerações.</a:t>
            </a:r>
            <a:endParaRPr lang="en-US" sz="1400" dirty="0" smtClean="0">
              <a:solidFill>
                <a:prstClr val="black"/>
              </a:solidFill>
            </a:endParaRPr>
          </a:p>
          <a:p>
            <a:r>
              <a:rPr lang="en-US" sz="1400" dirty="0" smtClean="0">
                <a:solidFill>
                  <a:prstClr val="black"/>
                </a:solidFill>
                <a:sym typeface="Wingdings" panose="05000000000000000000" pitchFamily="2" charset="2"/>
              </a:rPr>
              <a:t> </a:t>
            </a:r>
            <a:r>
              <a:rPr lang="en-US" sz="1400" dirty="0" err="1" smtClean="0">
                <a:solidFill>
                  <a:prstClr val="black"/>
                </a:solidFill>
              </a:rPr>
              <a:t>Aproveitar</a:t>
            </a:r>
            <a:r>
              <a:rPr lang="en-US" sz="1400" dirty="0" smtClean="0">
                <a:solidFill>
                  <a:prstClr val="black"/>
                </a:solidFill>
              </a:rPr>
              <a:t> as </a:t>
            </a:r>
            <a:r>
              <a:rPr lang="en-US" sz="1400" dirty="0" err="1" smtClean="0">
                <a:solidFill>
                  <a:prstClr val="black"/>
                </a:solidFill>
              </a:rPr>
              <a:t>vantagens</a:t>
            </a:r>
            <a:r>
              <a:rPr lang="en-US" sz="1400" dirty="0" smtClean="0">
                <a:solidFill>
                  <a:prstClr val="black"/>
                </a:solidFill>
              </a:rPr>
              <a:t> de </a:t>
            </a:r>
            <a:r>
              <a:rPr lang="en-US" sz="1400" dirty="0" err="1" smtClean="0">
                <a:solidFill>
                  <a:prstClr val="black"/>
                </a:solidFill>
              </a:rPr>
              <a:t>nosso</a:t>
            </a:r>
            <a:r>
              <a:rPr lang="en-US" sz="1400" dirty="0" smtClean="0">
                <a:solidFill>
                  <a:prstClr val="black"/>
                </a:solidFill>
              </a:rPr>
              <a:t> </a:t>
            </a:r>
            <a:r>
              <a:rPr lang="en-US" sz="1400" dirty="0" err="1" smtClean="0">
                <a:solidFill>
                  <a:prstClr val="black"/>
                </a:solidFill>
              </a:rPr>
              <a:t>conhecimento</a:t>
            </a:r>
            <a:r>
              <a:rPr lang="en-US" sz="1400" dirty="0" smtClean="0">
                <a:solidFill>
                  <a:prstClr val="black"/>
                </a:solidFill>
              </a:rPr>
              <a:t> </a:t>
            </a:r>
            <a:r>
              <a:rPr lang="en-US" sz="1400" dirty="0" err="1" smtClean="0">
                <a:solidFill>
                  <a:prstClr val="black"/>
                </a:solidFill>
              </a:rPr>
              <a:t>técnico</a:t>
            </a:r>
            <a:r>
              <a:rPr lang="en-US" sz="1400" dirty="0" smtClean="0">
                <a:solidFill>
                  <a:prstClr val="black"/>
                </a:solidFill>
              </a:rPr>
              <a:t> </a:t>
            </a:r>
            <a:r>
              <a:rPr lang="en-US" sz="1400" dirty="0" err="1" smtClean="0">
                <a:solidFill>
                  <a:prstClr val="black"/>
                </a:solidFill>
              </a:rPr>
              <a:t>para</a:t>
            </a:r>
            <a:r>
              <a:rPr lang="en-US" sz="1400" dirty="0" smtClean="0">
                <a:solidFill>
                  <a:prstClr val="black"/>
                </a:solidFill>
              </a:rPr>
              <a:t> </a:t>
            </a:r>
            <a:r>
              <a:rPr lang="en-US" sz="1400" dirty="0" err="1" smtClean="0">
                <a:solidFill>
                  <a:prstClr val="black"/>
                </a:solidFill>
              </a:rPr>
              <a:t>implementar</a:t>
            </a:r>
            <a:r>
              <a:rPr lang="en-US" sz="1400" dirty="0" smtClean="0">
                <a:solidFill>
                  <a:prstClr val="black"/>
                </a:solidFill>
              </a:rPr>
              <a:t>:</a:t>
            </a:r>
            <a:endParaRPr lang="en-US" sz="1400" dirty="0">
              <a:solidFill>
                <a:prstClr val="black"/>
              </a:solidFill>
            </a:endParaRPr>
          </a:p>
        </p:txBody>
      </p:sp>
      <p:pic>
        <p:nvPicPr>
          <p:cNvPr id="12" name="Image 11"/>
          <p:cNvPicPr>
            <a:picLocks noChangeAspect="1"/>
          </p:cNvPicPr>
          <p:nvPr/>
        </p:nvPicPr>
        <p:blipFill rotWithShape="1">
          <a:blip r:embed="rId2" cstate="print">
            <a:extLst>
              <a:ext uri="{28A0092B-C50C-407E-A947-70E740481C1C}">
                <a14:useLocalDpi xmlns:a14="http://schemas.microsoft.com/office/drawing/2010/main" val="0"/>
              </a:ext>
            </a:extLst>
          </a:blip>
          <a:srcRect b="16210"/>
          <a:stretch>
            <a:fillRect/>
          </a:stretch>
        </p:blipFill>
        <p:spPr>
          <a:xfrm>
            <a:off x="1218765" y="2591951"/>
            <a:ext cx="741440" cy="621256"/>
          </a:xfrm>
          <a:prstGeom prst="rect">
            <a:avLst/>
          </a:prstGeom>
        </p:spPr>
      </p:pic>
      <p:pic>
        <p:nvPicPr>
          <p:cNvPr id="16" name="Image 15"/>
          <p:cNvPicPr>
            <a:picLocks noChangeAspect="1"/>
          </p:cNvPicPr>
          <p:nvPr/>
        </p:nvPicPr>
        <p:blipFill rotWithShape="1">
          <a:blip r:embed="rId2" cstate="print">
            <a:extLst>
              <a:ext uri="{28A0092B-C50C-407E-A947-70E740481C1C}">
                <a14:useLocalDpi xmlns:a14="http://schemas.microsoft.com/office/drawing/2010/main" val="0"/>
              </a:ext>
            </a:extLst>
          </a:blip>
          <a:srcRect b="16210"/>
          <a:stretch>
            <a:fillRect/>
          </a:stretch>
        </p:blipFill>
        <p:spPr>
          <a:xfrm>
            <a:off x="1218765" y="4069206"/>
            <a:ext cx="741440" cy="621256"/>
          </a:xfrm>
          <a:prstGeom prst="rect">
            <a:avLst/>
          </a:prstGeom>
        </p:spPr>
      </p:pic>
      <p:pic>
        <p:nvPicPr>
          <p:cNvPr id="21" name="Image 20"/>
          <p:cNvPicPr>
            <a:picLocks noChangeAspect="1"/>
          </p:cNvPicPr>
          <p:nvPr/>
        </p:nvPicPr>
        <p:blipFill rotWithShape="1">
          <a:blip r:embed="rId2" cstate="print">
            <a:extLst>
              <a:ext uri="{28A0092B-C50C-407E-A947-70E740481C1C}">
                <a14:useLocalDpi xmlns:a14="http://schemas.microsoft.com/office/drawing/2010/main" val="0"/>
              </a:ext>
            </a:extLst>
          </a:blip>
          <a:srcRect b="16210"/>
          <a:stretch>
            <a:fillRect/>
          </a:stretch>
        </p:blipFill>
        <p:spPr>
          <a:xfrm>
            <a:off x="1218765" y="3213207"/>
            <a:ext cx="741440" cy="621256"/>
          </a:xfrm>
          <a:prstGeom prst="rect">
            <a:avLst/>
          </a:prstGeom>
        </p:spPr>
      </p:pic>
      <p:sp>
        <p:nvSpPr>
          <p:cNvPr id="24" name="Rectangle 14"/>
          <p:cNvSpPr/>
          <p:nvPr/>
        </p:nvSpPr>
        <p:spPr>
          <a:xfrm>
            <a:off x="1960205" y="3262225"/>
            <a:ext cx="6414850" cy="523220"/>
          </a:xfrm>
          <a:prstGeom prst="rect">
            <a:avLst/>
          </a:prstGeom>
        </p:spPr>
        <p:txBody>
          <a:bodyPr wrap="square">
            <a:spAutoFit/>
          </a:bodyPr>
          <a:lstStyle/>
          <a:p>
            <a:r>
              <a:rPr lang="pt-BR" sz="1400" dirty="0"/>
              <a:t>Muitos agricultores familiares não possuem ainda todas as competências para </a:t>
            </a:r>
            <a:r>
              <a:rPr lang="pt-BR" sz="1400" b="1" dirty="0"/>
              <a:t>cumprir todas as exigências das severas leis ambientais</a:t>
            </a:r>
            <a:r>
              <a:rPr lang="pt-BR" sz="1400" dirty="0"/>
              <a:t>. </a:t>
            </a:r>
            <a:endParaRPr lang="en-US" sz="1400" dirty="0">
              <a:solidFill>
                <a:prstClr val="black"/>
              </a:solidFill>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18"/>
          <p:cNvSpPr/>
          <p:nvPr/>
        </p:nvSpPr>
        <p:spPr>
          <a:xfrm>
            <a:off x="763170" y="3220169"/>
            <a:ext cx="835491" cy="14424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0" name="Rectangle 18"/>
          <p:cNvSpPr/>
          <p:nvPr/>
        </p:nvSpPr>
        <p:spPr>
          <a:xfrm>
            <a:off x="586740" y="3369761"/>
            <a:ext cx="706310" cy="15709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6" name="ZoneTexte 15"/>
          <p:cNvSpPr txBox="1"/>
          <p:nvPr/>
        </p:nvSpPr>
        <p:spPr>
          <a:xfrm>
            <a:off x="3907856" y="3170990"/>
            <a:ext cx="1347877" cy="711733"/>
          </a:xfrm>
          <a:prstGeom prst="rect">
            <a:avLst/>
          </a:prstGeom>
          <a:noFill/>
        </p:spPr>
        <p:txBody>
          <a:bodyPr wrap="square" lIns="0" tIns="0" rIns="0" bIns="0" rtlCol="0">
            <a:noAutofit/>
          </a:bodyPr>
          <a:lstStyle/>
          <a:p>
            <a:pPr algn="ctr"/>
            <a:r>
              <a:rPr lang="fr-FR" sz="1200" b="1" dirty="0" smtClean="0">
                <a:highlight>
                  <a:srgbClr val="D9E8C3"/>
                </a:highlight>
              </a:rPr>
              <a:t>Impacto ambiental e social </a:t>
            </a:r>
            <a:r>
              <a:rPr lang="fr-FR" sz="1200" dirty="0" smtClean="0"/>
              <a:t>são conhecidos</a:t>
            </a:r>
            <a:endParaRPr lang="fr-FR" sz="1200" dirty="0"/>
          </a:p>
        </p:txBody>
      </p:sp>
      <p:sp>
        <p:nvSpPr>
          <p:cNvPr id="2" name="Titre 1"/>
          <p:cNvSpPr>
            <a:spLocks noGrp="1"/>
          </p:cNvSpPr>
          <p:nvPr>
            <p:ph type="title"/>
          </p:nvPr>
        </p:nvSpPr>
        <p:spPr>
          <a:noFill/>
          <a:ln>
            <a:noFill/>
          </a:ln>
        </p:spPr>
        <p:txBody>
          <a:bodyPr vert="horz" wrap="square" lIns="0" tIns="0" rIns="0" bIns="0" numCol="1" anchor="ctr" anchorCtr="0" compatLnSpc="1"/>
          <a:lstStyle/>
          <a:p>
            <a:r>
              <a:rPr lang="de-DE" dirty="0"/>
              <a:t>Foodflow</a:t>
            </a:r>
            <a:r>
              <a:rPr lang="en-US" baseline="30000" dirty="0">
                <a:solidFill>
                  <a:prstClr val="black"/>
                </a:solidFill>
              </a:rPr>
              <a:t>®</a:t>
            </a:r>
            <a:endParaRPr lang="fr-FR" dirty="0"/>
          </a:p>
        </p:txBody>
      </p:sp>
      <p:sp>
        <p:nvSpPr>
          <p:cNvPr id="3" name="Espace réservé du numéro de diapositive 2"/>
          <p:cNvSpPr>
            <a:spLocks noGrp="1"/>
          </p:cNvSpPr>
          <p:nvPr>
            <p:ph type="sldNum" sz="quarter" idx="12"/>
          </p:nvPr>
        </p:nvSpPr>
        <p:spPr/>
        <p:txBody>
          <a:bodyPr/>
          <a:lstStyle/>
          <a:p>
            <a:fld id="{8AD48C63-78A6-4D64-B839-4870EFEB9C13}" type="slidenum">
              <a:rPr lang="de-DE" smtClean="0">
                <a:solidFill>
                  <a:srgbClr val="A8A09E"/>
                </a:solidFill>
              </a:rPr>
            </a:fld>
            <a:endParaRPr lang="de-DE">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lstStyle/>
          <a:p>
            <a:r>
              <a:rPr lang="fr-FR" dirty="0">
                <a:solidFill>
                  <a:srgbClr val="FF0066"/>
                </a:solidFill>
              </a:rPr>
              <a:t>Nossa aplicação para transparência da informação</a:t>
            </a:r>
            <a:endParaRPr lang="fr-FR" dirty="0">
              <a:solidFill>
                <a:srgbClr val="FF0066"/>
              </a:solidFill>
            </a:endParaRPr>
          </a:p>
        </p:txBody>
      </p:sp>
      <p:sp>
        <p:nvSpPr>
          <p:cNvPr id="6" name="Rectangle 5"/>
          <p:cNvSpPr/>
          <p:nvPr/>
        </p:nvSpPr>
        <p:spPr>
          <a:xfrm>
            <a:off x="457200"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10" name="ZoneTexte 9"/>
          <p:cNvSpPr txBox="1"/>
          <p:nvPr/>
        </p:nvSpPr>
        <p:spPr>
          <a:xfrm>
            <a:off x="7445735" y="3170990"/>
            <a:ext cx="1117076" cy="190893"/>
          </a:xfrm>
          <a:prstGeom prst="rect">
            <a:avLst/>
          </a:prstGeom>
          <a:noFill/>
        </p:spPr>
        <p:txBody>
          <a:bodyPr wrap="square" lIns="0" tIns="0" rIns="0" bIns="0" rtlCol="0">
            <a:noAutofit/>
          </a:bodyPr>
          <a:lstStyle/>
          <a:p>
            <a:pPr algn="ctr"/>
            <a:r>
              <a:rPr lang="fr-FR" sz="1200" dirty="0" smtClean="0"/>
              <a:t>Virtualmente  </a:t>
            </a:r>
            <a:r>
              <a:rPr lang="fr-FR" sz="1200" b="1" dirty="0" smtClean="0">
                <a:highlight>
                  <a:srgbClr val="D9E8C3"/>
                </a:highlight>
              </a:rPr>
              <a:t>conheça os agricultores e as pessoas</a:t>
            </a:r>
            <a:r>
              <a:rPr lang="fr-FR" sz="1200" dirty="0" smtClean="0"/>
              <a:t> </a:t>
            </a:r>
            <a:r>
              <a:rPr lang="pt-BR" altLang="fr-FR" sz="1200" dirty="0" smtClean="0"/>
              <a:t>e</a:t>
            </a:r>
            <a:r>
              <a:rPr lang="fr-FR" sz="1200" dirty="0" smtClean="0"/>
              <a:t>nvol</a:t>
            </a:r>
            <a:r>
              <a:rPr lang="pt-BR" altLang="fr-FR" sz="1200" dirty="0" smtClean="0"/>
              <a:t>v</a:t>
            </a:r>
            <a:r>
              <a:rPr lang="fr-FR" sz="1200" dirty="0" smtClean="0"/>
              <a:t>idas</a:t>
            </a:r>
            <a:endParaRPr lang="fr-FR" sz="1200" dirty="0"/>
          </a:p>
        </p:txBody>
      </p:sp>
      <p:sp>
        <p:nvSpPr>
          <p:cNvPr id="13" name="ZoneTexte 12"/>
          <p:cNvSpPr txBox="1"/>
          <p:nvPr/>
        </p:nvSpPr>
        <p:spPr>
          <a:xfrm>
            <a:off x="5794012" y="3170990"/>
            <a:ext cx="1117076" cy="190893"/>
          </a:xfrm>
          <a:prstGeom prst="rect">
            <a:avLst/>
          </a:prstGeom>
          <a:noFill/>
        </p:spPr>
        <p:txBody>
          <a:bodyPr wrap="square" lIns="0" tIns="0" rIns="0" bIns="0" rtlCol="0">
            <a:noAutofit/>
          </a:bodyPr>
          <a:lstStyle/>
          <a:p>
            <a:pPr algn="ctr"/>
            <a:r>
              <a:rPr lang="fr-FR" sz="1200" dirty="0" smtClean="0"/>
              <a:t>Conheça a </a:t>
            </a:r>
            <a:r>
              <a:rPr lang="fr-FR" sz="1200" b="1" dirty="0" smtClean="0">
                <a:highlight>
                  <a:srgbClr val="D9E8C3"/>
                </a:highlight>
              </a:rPr>
              <a:t>história</a:t>
            </a:r>
            <a:r>
              <a:rPr lang="fr-FR" sz="1200" b="1" dirty="0" smtClean="0"/>
              <a:t> da planta</a:t>
            </a:r>
            <a:r>
              <a:rPr lang="fr-FR" sz="1200" dirty="0" smtClean="0"/>
              <a:t> </a:t>
            </a:r>
            <a:endParaRPr lang="fr-FR" sz="1200" dirty="0"/>
          </a:p>
        </p:txBody>
      </p:sp>
      <p:grpSp>
        <p:nvGrpSpPr>
          <p:cNvPr id="5" name="Groupe 4"/>
          <p:cNvGrpSpPr/>
          <p:nvPr/>
        </p:nvGrpSpPr>
        <p:grpSpPr>
          <a:xfrm>
            <a:off x="2372900" y="1842637"/>
            <a:ext cx="1080000" cy="1080000"/>
            <a:chOff x="1152546" y="2415627"/>
            <a:chExt cx="1440000" cy="1440000"/>
          </a:xfrm>
        </p:grpSpPr>
        <p:pic>
          <p:nvPicPr>
            <p:cNvPr id="9" name="Image 8"/>
            <p:cNvPicPr>
              <a:picLocks noChangeAspect="1"/>
            </p:cNvPicPr>
            <p:nvPr/>
          </p:nvPicPr>
          <p:blipFill rotWithShape="1">
            <a:blip r:embed="rId1" cstate="print">
              <a:extLst>
                <a:ext uri="{28A0092B-C50C-407E-A947-70E740481C1C}">
                  <a14:useLocalDpi xmlns:a14="http://schemas.microsoft.com/office/drawing/2010/main" val="0"/>
                </a:ext>
              </a:extLst>
            </a:blip>
            <a:srcRect l="8621" r="8173" b="19850"/>
            <a:stretch>
              <a:fillRect/>
            </a:stretch>
          </p:blipFill>
          <p:spPr>
            <a:xfrm>
              <a:off x="1344645" y="2627111"/>
              <a:ext cx="1055803" cy="1017033"/>
            </a:xfrm>
            <a:prstGeom prst="rect">
              <a:avLst/>
            </a:prstGeom>
          </p:spPr>
        </p:pic>
        <p:sp>
          <p:nvSpPr>
            <p:cNvPr id="14" name="Ellipse 13"/>
            <p:cNvSpPr/>
            <p:nvPr/>
          </p:nvSpPr>
          <p:spPr>
            <a:xfrm>
              <a:off x="1152546" y="2415627"/>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grpSp>
        <p:nvGrpSpPr>
          <p:cNvPr id="21" name="Groupe 20"/>
          <p:cNvGrpSpPr/>
          <p:nvPr/>
        </p:nvGrpSpPr>
        <p:grpSpPr>
          <a:xfrm>
            <a:off x="7393570" y="1842637"/>
            <a:ext cx="1080000" cy="1080000"/>
            <a:chOff x="9360620" y="2498071"/>
            <a:chExt cx="1440000" cy="1440000"/>
          </a:xfrm>
        </p:grpSpPr>
        <p:pic>
          <p:nvPicPr>
            <p:cNvPr id="12" name="Image 11"/>
            <p:cNvPicPr>
              <a:picLocks noChangeAspect="1"/>
            </p:cNvPicPr>
            <p:nvPr/>
          </p:nvPicPr>
          <p:blipFill rotWithShape="1">
            <a:blip r:embed="rId2" cstate="print">
              <a:extLst>
                <a:ext uri="{28A0092B-C50C-407E-A947-70E740481C1C}">
                  <a14:useLocalDpi xmlns:a14="http://schemas.microsoft.com/office/drawing/2010/main" val="0"/>
                </a:ext>
              </a:extLst>
            </a:blip>
            <a:srcRect l="4105" t="3986" r="4456" b="17388"/>
            <a:stretch>
              <a:fillRect/>
            </a:stretch>
          </p:blipFill>
          <p:spPr>
            <a:xfrm>
              <a:off x="9605448" y="2809488"/>
              <a:ext cx="950344" cy="817166"/>
            </a:xfrm>
            <a:prstGeom prst="rect">
              <a:avLst/>
            </a:prstGeom>
          </p:spPr>
        </p:pic>
        <p:sp>
          <p:nvSpPr>
            <p:cNvPr id="17" name="Ellipse 16"/>
            <p:cNvSpPr/>
            <p:nvPr/>
          </p:nvSpPr>
          <p:spPr>
            <a:xfrm>
              <a:off x="9360620" y="2498071"/>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grpSp>
        <p:nvGrpSpPr>
          <p:cNvPr id="11" name="Groupe 10"/>
          <p:cNvGrpSpPr/>
          <p:nvPr/>
        </p:nvGrpSpPr>
        <p:grpSpPr>
          <a:xfrm>
            <a:off x="5720014" y="1842637"/>
            <a:ext cx="1080000" cy="1080000"/>
            <a:chOff x="6554771" y="2493207"/>
            <a:chExt cx="1440000" cy="1440000"/>
          </a:xfrm>
        </p:grpSpPr>
        <p:pic>
          <p:nvPicPr>
            <p:cNvPr id="15" name="Image 14"/>
            <p:cNvPicPr>
              <a:picLocks noChangeAspect="1"/>
            </p:cNvPicPr>
            <p:nvPr/>
          </p:nvPicPr>
          <p:blipFill rotWithShape="1">
            <a:blip r:embed="rId3" cstate="print">
              <a:extLst>
                <a:ext uri="{28A0092B-C50C-407E-A947-70E740481C1C}">
                  <a14:useLocalDpi xmlns:a14="http://schemas.microsoft.com/office/drawing/2010/main" val="0"/>
                </a:ext>
              </a:extLst>
            </a:blip>
            <a:srcRect t="9518" b="22337"/>
            <a:stretch>
              <a:fillRect/>
            </a:stretch>
          </p:blipFill>
          <p:spPr>
            <a:xfrm>
              <a:off x="6677761" y="2806372"/>
              <a:ext cx="1194020" cy="813670"/>
            </a:xfrm>
            <a:prstGeom prst="rect">
              <a:avLst/>
            </a:prstGeom>
          </p:spPr>
        </p:pic>
        <p:sp>
          <p:nvSpPr>
            <p:cNvPr id="19" name="Ellipse 18"/>
            <p:cNvSpPr/>
            <p:nvPr/>
          </p:nvSpPr>
          <p:spPr>
            <a:xfrm>
              <a:off x="6554771" y="2493207"/>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grpSp>
        <p:nvGrpSpPr>
          <p:cNvPr id="8" name="Groupe 7"/>
          <p:cNvGrpSpPr/>
          <p:nvPr/>
        </p:nvGrpSpPr>
        <p:grpSpPr>
          <a:xfrm>
            <a:off x="4046457" y="1842637"/>
            <a:ext cx="1080000" cy="1080000"/>
            <a:chOff x="3807252" y="2463752"/>
            <a:chExt cx="1440000" cy="1440000"/>
          </a:xfrm>
        </p:grpSpPr>
        <p:pic>
          <p:nvPicPr>
            <p:cNvPr id="18" name="Image 17"/>
            <p:cNvPicPr>
              <a:picLocks noChangeAspect="1"/>
            </p:cNvPicPr>
            <p:nvPr/>
          </p:nvPicPr>
          <p:blipFill rotWithShape="1">
            <a:blip r:embed="rId4" cstate="print">
              <a:extLst>
                <a:ext uri="{28A0092B-C50C-407E-A947-70E740481C1C}">
                  <a14:useLocalDpi xmlns:a14="http://schemas.microsoft.com/office/drawing/2010/main" val="0"/>
                </a:ext>
              </a:extLst>
            </a:blip>
            <a:srcRect l="15700" t="5934" r="14156" b="25206"/>
            <a:stretch>
              <a:fillRect/>
            </a:stretch>
          </p:blipFill>
          <p:spPr>
            <a:xfrm>
              <a:off x="3934369" y="2601729"/>
              <a:ext cx="1185767" cy="1164047"/>
            </a:xfrm>
            <a:prstGeom prst="rect">
              <a:avLst/>
            </a:prstGeom>
          </p:spPr>
        </p:pic>
        <p:sp>
          <p:nvSpPr>
            <p:cNvPr id="20" name="Ellipse 19"/>
            <p:cNvSpPr/>
            <p:nvPr/>
          </p:nvSpPr>
          <p:spPr>
            <a:xfrm>
              <a:off x="3807252" y="2463752"/>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sp>
        <p:nvSpPr>
          <p:cNvPr id="23" name="Titel 1"/>
          <p:cNvSpPr txBox="1"/>
          <p:nvPr/>
        </p:nvSpPr>
        <p:spPr bwMode="gray">
          <a:xfrm>
            <a:off x="1112520" y="1286763"/>
            <a:ext cx="6821050" cy="177375"/>
          </a:xfrm>
          <a:prstGeom prst="rect">
            <a:avLst/>
          </a:prstGeom>
          <a:solidFill>
            <a:schemeClr val="bg1"/>
          </a:solidFill>
        </p:spPr>
        <p:txBody>
          <a:bodyPr vert="horz" lIns="0" tIns="0" rIns="0" bIns="0" rtlCol="0" anchor="ctr">
            <a:noAutofit/>
          </a:bodyPr>
          <a:lstStyle>
            <a:lvl1pPr algn="l" defTabSz="1219200" rtl="0" eaLnBrk="1" latinLnBrk="0" hangingPunct="1">
              <a:spcBef>
                <a:spcPct val="0"/>
              </a:spcBef>
              <a:buNone/>
              <a:defRPr sz="2935" kern="1200">
                <a:solidFill>
                  <a:schemeClr val="tx1"/>
                </a:solidFill>
                <a:latin typeface="+mj-lt"/>
                <a:ea typeface="+mj-ea"/>
                <a:cs typeface="+mj-cs"/>
              </a:defRPr>
            </a:lvl1pPr>
          </a:lstStyle>
          <a:p>
            <a:pPr algn="ctr"/>
            <a:r>
              <a:rPr lang="pt-BR" sz="1800" b="1" cap="small" dirty="0">
                <a:solidFill>
                  <a:srgbClr val="68B222"/>
                </a:solidFill>
              </a:rPr>
              <a:t>muitos benefícios para uma cadeia de suprimentos digitalizada</a:t>
            </a:r>
            <a:endParaRPr lang="en-US" sz="1800" b="1" cap="small" dirty="0">
              <a:solidFill>
                <a:srgbClr val="68B222"/>
              </a:solidFill>
            </a:endParaRPr>
          </a:p>
        </p:txBody>
      </p:sp>
      <p:grpSp>
        <p:nvGrpSpPr>
          <p:cNvPr id="22" name="Groupe 21"/>
          <p:cNvGrpSpPr/>
          <p:nvPr/>
        </p:nvGrpSpPr>
        <p:grpSpPr>
          <a:xfrm>
            <a:off x="702179" y="1842637"/>
            <a:ext cx="1080000" cy="1080000"/>
            <a:chOff x="932458" y="2456849"/>
            <a:chExt cx="1440000" cy="1440000"/>
          </a:xfrm>
        </p:grpSpPr>
        <p:pic>
          <p:nvPicPr>
            <p:cNvPr id="24" name="Image 23"/>
            <p:cNvPicPr>
              <a:picLocks noChangeAspect="1"/>
            </p:cNvPicPr>
            <p:nvPr/>
          </p:nvPicPr>
          <p:blipFill rotWithShape="1">
            <a:blip r:embed="rId5" cstate="print">
              <a:extLst>
                <a:ext uri="{28A0092B-C50C-407E-A947-70E740481C1C}">
                  <a14:useLocalDpi xmlns:a14="http://schemas.microsoft.com/office/drawing/2010/main" val="0"/>
                </a:ext>
              </a:extLst>
            </a:blip>
            <a:srcRect b="15787"/>
            <a:stretch>
              <a:fillRect/>
            </a:stretch>
          </p:blipFill>
          <p:spPr>
            <a:xfrm>
              <a:off x="1120785" y="2755920"/>
              <a:ext cx="1063347" cy="895473"/>
            </a:xfrm>
            <a:prstGeom prst="rect">
              <a:avLst/>
            </a:prstGeom>
          </p:spPr>
        </p:pic>
        <p:sp>
          <p:nvSpPr>
            <p:cNvPr id="29" name="Ellipse 28"/>
            <p:cNvSpPr/>
            <p:nvPr/>
          </p:nvSpPr>
          <p:spPr>
            <a:xfrm>
              <a:off x="932458" y="2456849"/>
              <a:ext cx="1440000" cy="1440000"/>
            </a:xfrm>
            <a:prstGeom prst="ellipse">
              <a:avLst/>
            </a:prstGeom>
            <a:noFill/>
            <a:ln w="28575">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chemeClr val="tx1"/>
                </a:solidFill>
              </a:endParaRPr>
            </a:p>
          </p:txBody>
        </p:sp>
      </p:grpSp>
      <p:sp>
        <p:nvSpPr>
          <p:cNvPr id="31" name="Rectangle 18"/>
          <p:cNvSpPr/>
          <p:nvPr/>
        </p:nvSpPr>
        <p:spPr>
          <a:xfrm>
            <a:off x="2415540" y="3788932"/>
            <a:ext cx="893286" cy="18758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2" name="Rectangle 18"/>
          <p:cNvSpPr/>
          <p:nvPr/>
        </p:nvSpPr>
        <p:spPr>
          <a:xfrm>
            <a:off x="2563567" y="3954362"/>
            <a:ext cx="698666" cy="187581"/>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5" name="ZoneTexte 24"/>
          <p:cNvSpPr txBox="1"/>
          <p:nvPr/>
        </p:nvSpPr>
        <p:spPr>
          <a:xfrm>
            <a:off x="524823" y="3170990"/>
            <a:ext cx="1502097" cy="877163"/>
          </a:xfrm>
          <a:prstGeom prst="rect">
            <a:avLst/>
          </a:prstGeom>
          <a:noFill/>
        </p:spPr>
        <p:txBody>
          <a:bodyPr wrap="square" lIns="68580" tIns="34290" rIns="68580" bIns="34290">
            <a:spAutoFit/>
          </a:bodyPr>
          <a:lstStyle/>
          <a:p>
            <a:pPr algn="ctr">
              <a:buClr>
                <a:srgbClr val="68B222"/>
              </a:buClr>
            </a:pPr>
            <a:r>
              <a:rPr lang="pt-BR" sz="1050" b="1" dirty="0" smtClean="0"/>
              <a:t>Integridade</a:t>
            </a:r>
            <a:r>
              <a:rPr lang="pt-BR" sz="1050" dirty="0" smtClean="0"/>
              <a:t> </a:t>
            </a:r>
            <a:r>
              <a:rPr lang="pt-BR" sz="1050" dirty="0"/>
              <a:t>e </a:t>
            </a:r>
            <a:r>
              <a:rPr lang="pt-BR" sz="1050" b="1" dirty="0"/>
              <a:t>segurança </a:t>
            </a:r>
            <a:r>
              <a:rPr lang="pt-BR" sz="1050" dirty="0" smtClean="0"/>
              <a:t>dos dados</a:t>
            </a:r>
            <a:endParaRPr lang="pt-BR" sz="1050" dirty="0"/>
          </a:p>
          <a:p>
            <a:pPr algn="ctr">
              <a:buClr>
                <a:srgbClr val="68B222"/>
              </a:buClr>
            </a:pPr>
            <a:r>
              <a:rPr lang="pt-BR" sz="1050" dirty="0"/>
              <a:t>Os dados </a:t>
            </a:r>
            <a:r>
              <a:rPr lang="pt-BR" sz="1050" dirty="0" smtClean="0"/>
              <a:t>não podem </a:t>
            </a:r>
            <a:r>
              <a:rPr lang="pt-BR" sz="1050" dirty="0"/>
              <a:t>ser manipulados e a rede altamente segura</a:t>
            </a:r>
            <a:endParaRPr lang="en-GB" sz="1050" dirty="0"/>
          </a:p>
        </p:txBody>
      </p:sp>
      <p:sp>
        <p:nvSpPr>
          <p:cNvPr id="7" name="ZoneTexte 6"/>
          <p:cNvSpPr txBox="1"/>
          <p:nvPr/>
        </p:nvSpPr>
        <p:spPr>
          <a:xfrm>
            <a:off x="2241798" y="3170991"/>
            <a:ext cx="1347877" cy="1281919"/>
          </a:xfrm>
          <a:prstGeom prst="rect">
            <a:avLst/>
          </a:prstGeom>
          <a:noFill/>
        </p:spPr>
        <p:txBody>
          <a:bodyPr wrap="square" lIns="0" tIns="0" rIns="0" bIns="0" rtlCol="0">
            <a:noAutofit/>
          </a:bodyPr>
          <a:lstStyle/>
          <a:p>
            <a:pPr algn="ctr"/>
            <a:r>
              <a:rPr lang="pt-BR" sz="1050" dirty="0"/>
              <a:t>Informações compartilhadas com o consumidor para máxima </a:t>
            </a:r>
            <a:r>
              <a:rPr lang="pt-BR" sz="1050" b="1" dirty="0"/>
              <a:t>transparência</a:t>
            </a:r>
            <a:r>
              <a:rPr lang="pt-BR" sz="1050" dirty="0"/>
              <a:t> e </a:t>
            </a:r>
            <a:r>
              <a:rPr lang="pt-BR" sz="1050" b="1" dirty="0" smtClean="0"/>
              <a:t>educação</a:t>
            </a:r>
            <a:endParaRPr lang="fr-FR" sz="1050" b="1" dirty="0">
              <a:highlight>
                <a:srgbClr val="D9E8C3"/>
              </a:highlight>
            </a:endParaRPr>
          </a:p>
        </p:txBody>
      </p:sp>
    </p:spTree>
  </p:cSld>
  <p:clrMapOvr>
    <a:masterClrMapping/>
  </p:clrMapOvr>
  <p:transition>
    <p:zo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 24" descr="Une image contenant texte, articles de toilette, lotion&#10;&#10;Description générée automatiquement"/>
          <p:cNvPicPr>
            <a:picLocks noChangeAspect="1"/>
          </p:cNvPicPr>
          <p:nvPr/>
        </p:nvPicPr>
        <p:blipFill rotWithShape="1">
          <a:blip r:embed="rId1" cstate="print">
            <a:extLst>
              <a:ext uri="{28A0092B-C50C-407E-A947-70E740481C1C}">
                <a14:useLocalDpi xmlns:a14="http://schemas.microsoft.com/office/drawing/2010/main" val="0"/>
              </a:ext>
            </a:extLst>
          </a:blip>
          <a:srcRect t="2515"/>
          <a:stretch>
            <a:fillRect/>
          </a:stretch>
        </p:blipFill>
        <p:spPr>
          <a:xfrm>
            <a:off x="4300478" y="1804752"/>
            <a:ext cx="1768656" cy="2419897"/>
          </a:xfrm>
          <a:prstGeom prst="rect">
            <a:avLst/>
          </a:prstGeom>
        </p:spPr>
      </p:pic>
      <p:sp>
        <p:nvSpPr>
          <p:cNvPr id="2" name="Titre 1"/>
          <p:cNvSpPr>
            <a:spLocks noGrp="1"/>
          </p:cNvSpPr>
          <p:nvPr>
            <p:ph type="title"/>
          </p:nvPr>
        </p:nvSpPr>
        <p:spPr/>
        <p:txBody>
          <a:bodyPr/>
          <a:lstStyle/>
          <a:p>
            <a:r>
              <a:rPr lang="de-DE" dirty="0"/>
              <a:t>Foodflow</a:t>
            </a:r>
            <a:r>
              <a:rPr lang="en-US" baseline="30000" dirty="0">
                <a:solidFill>
                  <a:prstClr val="black"/>
                </a:solidFill>
              </a:rPr>
              <a:t>®</a:t>
            </a:r>
            <a:endParaRPr lang="fr-FR" dirty="0"/>
          </a:p>
        </p:txBody>
      </p:sp>
      <p:sp>
        <p:nvSpPr>
          <p:cNvPr id="3" name="Espace réservé du numéro de diapositive 2"/>
          <p:cNvSpPr>
            <a:spLocks noGrp="1"/>
          </p:cNvSpPr>
          <p:nvPr>
            <p:ph type="sldNum" sz="quarter" idx="12"/>
          </p:nvPr>
        </p:nvSpPr>
        <p:spPr/>
        <p:txBody>
          <a:bodyPr/>
          <a:lstStyle/>
          <a:p>
            <a:fld id="{8AD48C63-78A6-4D64-B839-4870EFEB9C13}" type="slidenum">
              <a:rPr lang="de-DE" smtClean="0">
                <a:solidFill>
                  <a:srgbClr val="A8A09E"/>
                </a:solidFill>
              </a:rPr>
            </a:fld>
            <a:endParaRPr lang="de-DE">
              <a:solidFill>
                <a:srgbClr val="A8A09E"/>
              </a:solidFill>
            </a:endParaRPr>
          </a:p>
        </p:txBody>
      </p:sp>
      <p:sp>
        <p:nvSpPr>
          <p:cNvPr id="4" name="Sous-titre 3"/>
          <p:cNvSpPr>
            <a:spLocks noGrp="1"/>
          </p:cNvSpPr>
          <p:nvPr>
            <p:ph type="subTitle" idx="1"/>
          </p:nvPr>
        </p:nvSpPr>
        <p:spPr>
          <a:noFill/>
          <a:ln>
            <a:noFill/>
          </a:ln>
        </p:spPr>
        <p:txBody>
          <a:bodyPr vert="horz" wrap="square" lIns="0" tIns="0" rIns="0" bIns="0" numCol="1" anchor="t" anchorCtr="0" compatLnSpc="1"/>
          <a:lstStyle/>
          <a:p>
            <a:r>
              <a:rPr lang="fr-FR" dirty="0">
                <a:solidFill>
                  <a:srgbClr val="FF0066"/>
                </a:solidFill>
              </a:rPr>
              <a:t>Como a nossa aplicação funciona?</a:t>
            </a:r>
            <a:endParaRPr lang="fr-FR" dirty="0">
              <a:solidFill>
                <a:srgbClr val="FF0066"/>
              </a:solidFill>
            </a:endParaRPr>
          </a:p>
        </p:txBody>
      </p:sp>
      <p:sp>
        <p:nvSpPr>
          <p:cNvPr id="5" name="Rectangle 4"/>
          <p:cNvSpPr/>
          <p:nvPr/>
        </p:nvSpPr>
        <p:spPr>
          <a:xfrm>
            <a:off x="457200" y="1375451"/>
            <a:ext cx="8206345" cy="3212541"/>
          </a:xfrm>
          <a:prstGeom prst="rect">
            <a:avLst/>
          </a:prstGeom>
          <a:noFill/>
          <a:ln w="19050">
            <a:solidFill>
              <a:srgbClr val="68B222"/>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a:defRPr/>
            </a:pPr>
            <a:endParaRPr lang="en-US">
              <a:solidFill>
                <a:prstClr val="black"/>
              </a:solidFill>
            </a:endParaRPr>
          </a:p>
        </p:txBody>
      </p:sp>
      <p:sp>
        <p:nvSpPr>
          <p:cNvPr id="7" name="Titel 1"/>
          <p:cNvSpPr txBox="1"/>
          <p:nvPr/>
        </p:nvSpPr>
        <p:spPr bwMode="gray">
          <a:xfrm>
            <a:off x="693766" y="1284572"/>
            <a:ext cx="7802025" cy="177375"/>
          </a:xfrm>
          <a:prstGeom prst="rect">
            <a:avLst/>
          </a:prstGeom>
          <a:solidFill>
            <a:schemeClr val="bg1"/>
          </a:solidFill>
        </p:spPr>
        <p:txBody>
          <a:bodyPr vert="horz" lIns="0" tIns="0" rIns="0" bIns="0" rtlCol="0" anchor="ctr">
            <a:noAutofit/>
          </a:bodyPr>
          <a:lstStyle>
            <a:lvl1pPr algn="l" defTabSz="1219200" rtl="0" eaLnBrk="1" latinLnBrk="0" hangingPunct="1">
              <a:spcBef>
                <a:spcPct val="0"/>
              </a:spcBef>
              <a:buNone/>
              <a:defRPr sz="2935" kern="1200">
                <a:solidFill>
                  <a:schemeClr val="tx1"/>
                </a:solidFill>
                <a:latin typeface="+mj-lt"/>
                <a:ea typeface="+mj-ea"/>
                <a:cs typeface="+mj-cs"/>
              </a:defRPr>
            </a:lvl1pPr>
          </a:lstStyle>
          <a:p>
            <a:pPr algn="ctr"/>
            <a:r>
              <a:rPr lang="pt-BR" sz="1600" b="1" cap="small" dirty="0" smtClean="0">
                <a:solidFill>
                  <a:srgbClr val="68B222"/>
                </a:solidFill>
              </a:rPr>
              <a:t>consumidores </a:t>
            </a:r>
            <a:r>
              <a:rPr lang="pt-BR" sz="1600" b="1" cap="small" dirty="0">
                <a:solidFill>
                  <a:srgbClr val="68B222"/>
                </a:solidFill>
              </a:rPr>
              <a:t>podem receber informações direcionadas sobre sustentabilidade</a:t>
            </a:r>
            <a:endParaRPr lang="en-US" sz="1600" b="1" cap="small" dirty="0">
              <a:solidFill>
                <a:srgbClr val="68B222"/>
              </a:solidFill>
            </a:endParaRPr>
          </a:p>
        </p:txBody>
      </p:sp>
      <p:sp>
        <p:nvSpPr>
          <p:cNvPr id="8" name="Textfeld 3"/>
          <p:cNvSpPr txBox="1"/>
          <p:nvPr/>
        </p:nvSpPr>
        <p:spPr>
          <a:xfrm>
            <a:off x="465693" y="1679816"/>
            <a:ext cx="4363187" cy="1300354"/>
          </a:xfrm>
          <a:prstGeom prst="rect">
            <a:avLst/>
          </a:prstGeom>
          <a:noFill/>
        </p:spPr>
        <p:txBody>
          <a:bodyPr wrap="square" lIns="68579" tIns="34289" rIns="68579" bIns="34289" rtlCol="0">
            <a:spAutoFit/>
          </a:bodyPr>
          <a:lstStyle/>
          <a:p>
            <a:pPr algn="ctr"/>
            <a:r>
              <a:rPr lang="pt-BR" sz="1600" dirty="0"/>
              <a:t>Com o aplicativo móvel, você pode </a:t>
            </a:r>
            <a:r>
              <a:rPr lang="pt-BR" sz="1600" b="1" dirty="0"/>
              <a:t>informar</a:t>
            </a:r>
            <a:r>
              <a:rPr lang="pt-BR" sz="1600" dirty="0"/>
              <a:t> facilmente seus consumidores sobre características específicas </a:t>
            </a:r>
            <a:r>
              <a:rPr lang="pt-BR" sz="1600" b="1" dirty="0" smtClean="0">
                <a:highlight>
                  <a:srgbClr val="D9E8C3"/>
                </a:highlight>
              </a:rPr>
              <a:t>dos </a:t>
            </a:r>
            <a:r>
              <a:rPr lang="pt-BR" sz="1600" b="1" dirty="0">
                <a:highlight>
                  <a:srgbClr val="D9E8C3"/>
                </a:highlight>
              </a:rPr>
              <a:t>alimentos e produtos e propriedades de sustentabilidade</a:t>
            </a:r>
            <a:r>
              <a:rPr lang="pt-BR" sz="1600" b="1" dirty="0" smtClean="0">
                <a:highlight>
                  <a:srgbClr val="D9E8C3"/>
                </a:highlight>
              </a:rPr>
              <a:t>.</a:t>
            </a:r>
            <a:endParaRPr lang="en-US" sz="1600" dirty="0"/>
          </a:p>
        </p:txBody>
      </p:sp>
      <p:sp>
        <p:nvSpPr>
          <p:cNvPr id="10" name="Ellipse 9"/>
          <p:cNvSpPr/>
          <p:nvPr/>
        </p:nvSpPr>
        <p:spPr>
          <a:xfrm>
            <a:off x="693766" y="3210926"/>
            <a:ext cx="945000" cy="945000"/>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a:p>
        </p:txBody>
      </p:sp>
      <p:pic>
        <p:nvPicPr>
          <p:cNvPr id="11" name="Grafik 17" descr="Offene Hand mit Pflanze mit einfarbiger Füllung"/>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366" y="3311597"/>
            <a:ext cx="685800" cy="685800"/>
          </a:xfrm>
          <a:prstGeom prst="rect">
            <a:avLst/>
          </a:prstGeom>
        </p:spPr>
      </p:pic>
      <p:sp>
        <p:nvSpPr>
          <p:cNvPr id="13" name="Ellipse 12"/>
          <p:cNvSpPr/>
          <p:nvPr/>
        </p:nvSpPr>
        <p:spPr>
          <a:xfrm>
            <a:off x="1875332" y="3210926"/>
            <a:ext cx="945000" cy="945000"/>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a:p>
        </p:txBody>
      </p:sp>
      <p:pic>
        <p:nvPicPr>
          <p:cNvPr id="15" name="Grafik 28" descr="Afrika mit einfarbiger Füllung"/>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65670" y="3450306"/>
            <a:ext cx="524873" cy="524873"/>
          </a:xfrm>
          <a:prstGeom prst="rect">
            <a:avLst/>
          </a:prstGeom>
        </p:spPr>
      </p:pic>
      <p:pic>
        <p:nvPicPr>
          <p:cNvPr id="16" name="Grafik 19" descr="Markierung mit einfarbiger Füllung"/>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47940" y="3268929"/>
            <a:ext cx="482054" cy="482054"/>
          </a:xfrm>
          <a:prstGeom prst="rect">
            <a:avLst/>
          </a:prstGeom>
        </p:spPr>
      </p:pic>
      <p:sp>
        <p:nvSpPr>
          <p:cNvPr id="18" name="Ellipse 17"/>
          <p:cNvSpPr/>
          <p:nvPr/>
        </p:nvSpPr>
        <p:spPr>
          <a:xfrm>
            <a:off x="3092939" y="3210926"/>
            <a:ext cx="945000" cy="945000"/>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a:p>
        </p:txBody>
      </p:sp>
      <p:pic>
        <p:nvPicPr>
          <p:cNvPr id="19" name="Grafik 31" descr="Prost mit einfarbiger Füllung"/>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22539" y="3340526"/>
            <a:ext cx="685800" cy="685800"/>
          </a:xfrm>
          <a:prstGeom prst="rect">
            <a:avLst/>
          </a:prstGeom>
        </p:spPr>
      </p:pic>
      <p:sp>
        <p:nvSpPr>
          <p:cNvPr id="28" name="ZoneTexte 27"/>
          <p:cNvSpPr txBox="1"/>
          <p:nvPr/>
        </p:nvSpPr>
        <p:spPr>
          <a:xfrm>
            <a:off x="6964679" y="1905000"/>
            <a:ext cx="1531111" cy="650893"/>
          </a:xfrm>
          <a:prstGeom prst="rect">
            <a:avLst/>
          </a:prstGeom>
          <a:noFill/>
        </p:spPr>
        <p:txBody>
          <a:bodyPr wrap="square" lIns="0" tIns="0" rIns="0" bIns="0" rtlCol="0">
            <a:noAutofit/>
          </a:bodyPr>
          <a:lstStyle/>
          <a:p>
            <a:pPr algn="ctr"/>
            <a:r>
              <a:rPr lang="fr-FR" sz="1400" b="1" cap="small" dirty="0">
                <a:solidFill>
                  <a:srgbClr val="68B222"/>
                </a:solidFill>
              </a:rPr>
              <a:t>digitalizar o código qr</a:t>
            </a:r>
            <a:endParaRPr lang="fr-FR" sz="1400" b="1" cap="small" dirty="0">
              <a:solidFill>
                <a:srgbClr val="68B222"/>
              </a:solidFill>
            </a:endParaRPr>
          </a:p>
        </p:txBody>
      </p:sp>
      <p:sp>
        <p:nvSpPr>
          <p:cNvPr id="20" name="Pfeil: nach rechts 5"/>
          <p:cNvSpPr/>
          <p:nvPr/>
        </p:nvSpPr>
        <p:spPr>
          <a:xfrm>
            <a:off x="5772547" y="3014701"/>
            <a:ext cx="887900" cy="392451"/>
          </a:xfrm>
          <a:prstGeom prst="rightArrow">
            <a:avLst/>
          </a:prstGeom>
          <a:solidFill>
            <a:srgbClr val="68B22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a:endParaRPr lang="en-US"/>
          </a:p>
        </p:txBody>
      </p:sp>
      <p:pic>
        <p:nvPicPr>
          <p:cNvPr id="9" name="Image 8"/>
          <p:cNvPicPr>
            <a:picLocks noChangeAspect="1"/>
          </p:cNvPicPr>
          <p:nvPr/>
        </p:nvPicPr>
        <p:blipFill rotWithShape="1">
          <a:blip r:embed="rId10"/>
          <a:srcRect t="-1" b="1007"/>
          <a:stretch>
            <a:fillRect/>
          </a:stretch>
        </p:blipFill>
        <p:spPr>
          <a:xfrm>
            <a:off x="6777029" y="2406937"/>
            <a:ext cx="1768656" cy="1757354"/>
          </a:xfrm>
          <a:prstGeom prst="rect">
            <a:avLst/>
          </a:prstGeom>
        </p:spPr>
      </p:pic>
      <p:pic>
        <p:nvPicPr>
          <p:cNvPr id="22" name="Image 21"/>
          <p:cNvPicPr>
            <a:picLocks noChangeAspect="1"/>
          </p:cNvPicPr>
          <p:nvPr/>
        </p:nvPicPr>
        <p:blipFill rotWithShape="1">
          <a:blip r:embed="rId10"/>
          <a:srcRect t="-1" b="1007"/>
          <a:stretch>
            <a:fillRect/>
          </a:stretch>
        </p:blipFill>
        <p:spPr>
          <a:xfrm>
            <a:off x="4828880" y="3633645"/>
            <a:ext cx="236184" cy="23467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wqd79AV5SXG1cjFnhVimNg"/>
</p:tagLst>
</file>

<file path=ppt/theme/theme1.xml><?xml version="1.0" encoding="utf-8"?>
<a:theme xmlns:a="http://schemas.openxmlformats.org/drawingml/2006/main" name="3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CAF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symrise Master">
  <a:themeElements>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ymrise optimiert">
    <a:dk1>
      <a:sysClr val="windowText" lastClr="000000"/>
    </a:dk1>
    <a:lt1>
      <a:sysClr val="window" lastClr="FFFFFF"/>
    </a:lt1>
    <a:dk2>
      <a:srgbClr val="CDA970"/>
    </a:dk2>
    <a:lt2>
      <a:srgbClr val="A8A09E"/>
    </a:lt2>
    <a:accent1>
      <a:srgbClr val="CC292B"/>
    </a:accent1>
    <a:accent2>
      <a:srgbClr val="661410"/>
    </a:accent2>
    <a:accent3>
      <a:srgbClr val="941E18"/>
    </a:accent3>
    <a:accent4>
      <a:srgbClr val="EDECEB"/>
    </a:accent4>
    <a:accent5>
      <a:srgbClr val="A8A09E"/>
    </a:accent5>
    <a:accent6>
      <a:srgbClr val="7DB73B"/>
    </a:accent6>
    <a:hlink>
      <a:srgbClr val="009D93"/>
    </a:hlink>
    <a:folHlink>
      <a:srgbClr val="009D93"/>
    </a:folHlink>
  </a:clrScheme>
</a:themeOverride>
</file>

<file path=docProps/app.xml><?xml version="1.0" encoding="utf-8"?>
<Properties xmlns="http://schemas.openxmlformats.org/officeDocument/2006/extended-properties" xmlns:vt="http://schemas.openxmlformats.org/officeDocument/2006/docPropsVTypes">
  <TotalTime>0</TotalTime>
  <Words>7745</Words>
  <Application>WPS Presentation</Application>
  <PresentationFormat>Apresentação na tela (16:9)</PresentationFormat>
  <Paragraphs>304</Paragraphs>
  <Slides>17</Slides>
  <Notes>15</Notes>
  <HiddenSlides>0</HiddenSlides>
  <MMClips>0</MMClips>
  <ScaleCrop>false</ScaleCrop>
  <HeadingPairs>
    <vt:vector size="8" baseType="variant">
      <vt:variant>
        <vt:lpstr>已用的字体</vt:lpstr>
      </vt:variant>
      <vt:variant>
        <vt:i4>15</vt:i4>
      </vt:variant>
      <vt:variant>
        <vt:lpstr>主题</vt:lpstr>
      </vt:variant>
      <vt:variant>
        <vt:i4>3</vt:i4>
      </vt:variant>
      <vt:variant>
        <vt:lpstr>嵌入 OLE 服务器</vt:lpstr>
      </vt:variant>
      <vt:variant>
        <vt:i4>2</vt:i4>
      </vt:variant>
      <vt:variant>
        <vt:lpstr>幻灯片标题</vt:lpstr>
      </vt:variant>
      <vt:variant>
        <vt:i4>17</vt:i4>
      </vt:variant>
    </vt:vector>
  </HeadingPairs>
  <TitlesOfParts>
    <vt:vector size="37" baseType="lpstr">
      <vt:lpstr>Arial</vt:lpstr>
      <vt:lpstr>SimSun</vt:lpstr>
      <vt:lpstr>Wingdings</vt:lpstr>
      <vt:lpstr>MS PGothic</vt:lpstr>
      <vt:lpstr>Times New Roman</vt:lpstr>
      <vt:lpstr>Arial</vt:lpstr>
      <vt:lpstr>Symbol</vt:lpstr>
      <vt:lpstr>Calibri</vt:lpstr>
      <vt:lpstr>Century Gothic</vt:lpstr>
      <vt:lpstr>Calibri</vt:lpstr>
      <vt:lpstr>Lora</vt:lpstr>
      <vt:lpstr>Segoe Print</vt:lpstr>
      <vt:lpstr>Open Sans</vt:lpstr>
      <vt:lpstr>Microsoft YaHei</vt:lpstr>
      <vt:lpstr>Arial Unicode MS</vt:lpstr>
      <vt:lpstr>3_symrise Master</vt:lpstr>
      <vt:lpstr>5_symrise Master</vt:lpstr>
      <vt:lpstr>4_symrise Master</vt:lpstr>
      <vt:lpstr>TCLayout.ActiveDocument.1</vt:lpstr>
      <vt:lpstr>TCLayout.ActiveDocument.1</vt:lpstr>
      <vt:lpstr>PowerPoint 演示文稿</vt:lpstr>
      <vt:lpstr>Potencial dos Alimentos</vt:lpstr>
      <vt:lpstr>Sustentabilidade </vt:lpstr>
      <vt:lpstr>O que os consumidores desejam?</vt:lpstr>
      <vt:lpstr>Foodflow®</vt:lpstr>
      <vt:lpstr>Foodflow®</vt:lpstr>
      <vt:lpstr>Foodflow®</vt:lpstr>
      <vt:lpstr>Foodflow®</vt:lpstr>
      <vt:lpstr>Foodflow®</vt:lpstr>
      <vt:lpstr>Foodflow®</vt:lpstr>
      <vt:lpstr>Foodflow®</vt:lpstr>
      <vt:lpstr>Foodflow®</vt:lpstr>
      <vt:lpstr>Colheita e processo</vt:lpstr>
      <vt:lpstr>Reutilzação</vt:lpstr>
      <vt:lpstr>Foodflow®</vt:lpstr>
      <vt:lpstr>Foodflow ®</vt:lpstr>
      <vt:lpstr>Foodflow®</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isdu</dc:creator>
  <cp:lastModifiedBy>Onishi</cp:lastModifiedBy>
  <cp:revision>1030</cp:revision>
  <cp:lastPrinted>2019-08-27T11:44:00Z</cp:lastPrinted>
  <dcterms:created xsi:type="dcterms:W3CDTF">2015-02-10T13:31:00Z</dcterms:created>
  <dcterms:modified xsi:type="dcterms:W3CDTF">2023-06-08T02:1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E7FB2B122DB4147B29CEE6829AF289A</vt:lpwstr>
  </property>
  <property fmtid="{D5CDD505-2E9C-101B-9397-08002B2CF9AE}" pid="3" name="KSOProductBuildVer">
    <vt:lpwstr>1046-11.2.0.11537</vt:lpwstr>
  </property>
</Properties>
</file>